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461" r:id="rId3"/>
    <p:sldId id="260" r:id="rId4"/>
    <p:sldId id="433" r:id="rId5"/>
    <p:sldId id="261" r:id="rId6"/>
    <p:sldId id="432" r:id="rId7"/>
    <p:sldId id="427" r:id="rId8"/>
    <p:sldId id="462" r:id="rId9"/>
    <p:sldId id="464" r:id="rId10"/>
    <p:sldId id="466" r:id="rId11"/>
    <p:sldId id="474" r:id="rId12"/>
    <p:sldId id="431" r:id="rId13"/>
    <p:sldId id="463" r:id="rId14"/>
    <p:sldId id="468" r:id="rId15"/>
    <p:sldId id="469" r:id="rId16"/>
    <p:sldId id="470" r:id="rId17"/>
    <p:sldId id="471" r:id="rId18"/>
    <p:sldId id="472" r:id="rId19"/>
    <p:sldId id="473" r:id="rId20"/>
    <p:sldId id="458" r:id="rId21"/>
    <p:sldId id="460" r:id="rId22"/>
    <p:sldId id="264" r:id="rId23"/>
  </p:sldIdLst>
  <p:sldSz cx="12192000" cy="6858000"/>
  <p:notesSz cx="6858000" cy="9144000"/>
  <p:custDataLst>
    <p:tags r:id="rId25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1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58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 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102B12-7F1C-4757-8B12-EFAA725848A0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4" name="Slayt Resmi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65956A-2BF7-4B77-BE3E-0113C9A255F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19709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65956A-2BF7-4B77-BE3E-0113C9A255FE}" type="slidenum">
              <a:rPr lang="tr-TR" smtClean="0"/>
              <a:t>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33285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8B1148AA-5446-B016-9A22-CEEA34A8D4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6B42ED90-D2E1-282A-56B4-F73C4B74CF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5FEA9F16-A162-5E3D-16C8-61E03E3FD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887DD9A0-615D-D7C9-AEB9-4DB965C6BB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CE496C72-A96F-63CC-4FF0-14E68CC3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64188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00A7EB63-3B5E-1E3A-F322-CD6CC46C6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EB8326EB-C8A1-DC56-6C83-AC004483BF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4B4081E9-50FD-7DEA-FAFB-E1442C72A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311B90A1-0E00-A7BB-1742-9E0BB6D974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449851B2-EFF0-1ABF-AB61-BEA4BB861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248326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9FB03157-DF79-8413-B5C8-F4AE57438A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05216D9B-4267-1034-36F1-E9D2C63B4C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FB841D9E-FEBA-BCB1-5C89-9DCB783C1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E99EDE36-96EB-694E-025D-D9B978119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D0448F93-02FA-4703-85FD-ABFD02A505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9764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1CA55986-B8CE-25F9-9E5E-2C68853D4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9FC0079B-82F9-9216-3A72-209C4AFE2A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40566011-A4F5-CB65-2EF7-9D0A1EB99A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1881A2FE-6B2B-6210-05C4-AAF12D016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89B34647-0ECF-689B-BCF0-43C15000D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99677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16F836D6-CACE-009C-85DD-2140CE9AD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9AB31CBD-C960-6900-9A55-2CC412D439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3508020F-C24C-A3C9-B8DC-21F57612B0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A7369E3C-711C-DB7E-40CC-95F73A70C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C4BBB266-4579-96DB-30B2-C735B8115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28884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88BE72C7-D55A-76C4-E266-67CECFBCD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C14E3C08-1B1C-82DA-82E8-FCD348D393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953BF463-EF40-33CE-FE58-BE287E3CC4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63F9C6CC-BBEE-3A7A-1A30-FA2CFC2A6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FD4BEAE9-1162-05EE-27B8-EF74C5FC05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42A20455-CBB7-6743-130D-83909BFBB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096505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31630BB7-36E7-5CFB-B2AB-1948BD62EE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4156C06B-C189-52D6-ED9B-AAAB5BE5B9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C9ECEFAB-CB07-8C4E-9E78-D323DFCBB0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3A8C1FDB-95ED-7046-1BB9-22B8EE4FFF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28E15A93-6EC2-3DD2-3749-C150289573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5F43ADD5-AFD3-83D4-E0CB-FEA7103B1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6028A78F-03BE-267D-F3C4-D29FA6C2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EE128C38-4537-C7C0-9C93-767167D6D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16491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9CAA59C2-6304-D2F3-2FE1-A6255F223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3794E892-D4F6-211F-AD5F-881489735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DE72F1D1-9209-A801-5B91-5E73E9FDC1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F98C343-3136-BF18-9720-E61EDEC32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55609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DCA23ECB-193D-DEE0-911B-312DBD8F9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BFCA76AF-9BBD-8E1E-484B-731D297CC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D81F437B-D433-3B51-EE04-17EA960A6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40359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1DC44D7A-3970-3F75-B7B9-B58294379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3F441939-5896-495F-FDA5-C72DD68999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E50A6BB1-50EC-438F-BCF6-B71DDB042C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016658C6-2790-CCEC-3862-C934D5637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78F7C771-464D-0F5B-2542-CE3F164EA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6E1E3C45-FA62-849D-8E9D-82E87FCA6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078694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BBA5EEC-D9DA-7179-0F12-DD765F177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E9B41A43-67E5-3A90-24DF-F62DD0EC55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E409E9C0-58F7-DA3A-6DB5-4410CD1220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5217734A-E926-9018-B99E-4D342859E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90E33018-A3F5-9283-D27A-C82AD7792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951C26AA-D279-551D-353B-BCF7463EA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60359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5110759-7B78-F04A-5CB2-776604F2F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97487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8" imgH="408" progId="TCLayout.ActiveDocument.1">
                  <p:embed/>
                </p:oleObj>
              </mc:Choice>
              <mc:Fallback>
                <p:oleObj name="think-cell Slide" r:id="rId1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30E625BB-9F5C-BE3A-F423-DAD490660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C5F87210-66F9-BA0D-E729-369C32A5F4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2C5ECB03-A1F1-6EE5-12AA-54F440AAB5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5C632-44D2-42DE-8049-C18F3DDD3A9C}" type="datetimeFigureOut">
              <a:rPr lang="tr-TR" smtClean="0"/>
              <a:t>29.05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D72294BB-2EEF-EC7E-A9E4-0DA644D8F3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B6D8F780-5F05-EA6A-CD9C-16F2355C95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D171F3-E45B-4397-86BB-26C92BBB6D4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2909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5.jpg"/><Relationship Id="rId5" Type="http://schemas.openxmlformats.org/officeDocument/2006/relationships/image" Target="../media/image24.jp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31.jp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32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5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88B5D2EF-E688-44AB-C689-E6DFCDD689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238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81B596CA-44FB-1468-28B6-5B0013016EB2}"/>
              </a:ext>
            </a:extLst>
          </p:cNvPr>
          <p:cNvSpPr txBox="1"/>
          <p:nvPr/>
        </p:nvSpPr>
        <p:spPr>
          <a:xfrm>
            <a:off x="1194370" y="5232902"/>
            <a:ext cx="1015932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tr-TR" sz="3600" dirty="0">
                <a:solidFill>
                  <a:schemeClr val="bg1"/>
                </a:solidFill>
                <a:cs typeface="Times New Roman" panose="02020603050405020304" pitchFamily="18" charset="0"/>
              </a:rPr>
              <a:t>44</a:t>
            </a:r>
            <a:r>
              <a:rPr lang="da-DK" sz="3600" b="0" i="0" dirty="0">
                <a:solidFill>
                  <a:schemeClr val="bg1"/>
                </a:solidFill>
                <a:effectLst/>
                <a:cs typeface="Times New Roman" panose="02020603050405020304" pitchFamily="18" charset="0"/>
              </a:rPr>
              <a:t>.G</a:t>
            </a:r>
            <a:r>
              <a:rPr lang="tr-TR" sz="3600" b="0" i="0" dirty="0" err="1">
                <a:solidFill>
                  <a:schemeClr val="bg1"/>
                </a:solidFill>
                <a:effectLst/>
                <a:cs typeface="Times New Roman" panose="02020603050405020304" pitchFamily="18" charset="0"/>
              </a:rPr>
              <a:t>rup</a:t>
            </a:r>
            <a:r>
              <a:rPr lang="tr-TR" sz="3600" b="0" i="0" dirty="0">
                <a:solidFill>
                  <a:schemeClr val="bg1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tr-TR" sz="3600" dirty="0">
                <a:solidFill>
                  <a:schemeClr val="bg1"/>
                </a:solidFill>
                <a:cs typeface="Times New Roman" panose="02020603050405020304" pitchFamily="18" charset="0"/>
              </a:rPr>
              <a:t>Metal Aletler, Hırdavat ve Isı Cihazları Sanayii</a:t>
            </a:r>
            <a:endParaRPr lang="tr-TR" sz="3600" b="0" i="0" dirty="0">
              <a:solidFill>
                <a:schemeClr val="bg1"/>
              </a:solidFill>
              <a:effectLst/>
              <a:cs typeface="Times New Roman" panose="02020603050405020304" pitchFamily="18" charset="0"/>
            </a:endParaRPr>
          </a:p>
          <a:p>
            <a:pPr algn="ctr"/>
            <a:r>
              <a:rPr lang="tr-TR" sz="3600" b="0" i="0" dirty="0">
                <a:solidFill>
                  <a:schemeClr val="bg1"/>
                </a:solidFill>
                <a:effectLst/>
                <a:cs typeface="Times New Roman" panose="02020603050405020304" pitchFamily="18" charset="0"/>
              </a:rPr>
              <a:t>Meslek Komitesi</a:t>
            </a:r>
            <a:endParaRPr lang="tr-TR" sz="36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12671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9" y="0"/>
            <a:ext cx="8385952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3735977" y="0"/>
            <a:ext cx="8456023" cy="889507"/>
            <a:chOff x="187618" y="3337406"/>
            <a:chExt cx="8198333" cy="88950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187618" y="333740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ISO MEIP ARNAVUTKOY MTAL YÖNETİM KURULU TOPLANTISI – ALİ EREN</a:t>
              </a:r>
            </a:p>
          </p:txBody>
        </p:sp>
      </p:grpSp>
      <p:pic>
        <p:nvPicPr>
          <p:cNvPr id="3" name="Picture 2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2FEEECDE-E05F-B6FE-2775-6A610B14B4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328" y="1998980"/>
            <a:ext cx="3222716" cy="4296954"/>
          </a:xfrm>
          <a:prstGeom prst="rect">
            <a:avLst/>
          </a:prstGeom>
        </p:spPr>
      </p:pic>
      <p:pic>
        <p:nvPicPr>
          <p:cNvPr id="11" name="Picture 10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75845EAE-075E-A7D6-CC43-2B97DF6B56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134" y="1691277"/>
            <a:ext cx="6139543" cy="460465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CB88FAC-7171-C84D-FE69-76A14CCB58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7326" y="369160"/>
            <a:ext cx="985050" cy="155761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9F3D278-FD99-CFAF-D971-A6F01BDC6606}"/>
              </a:ext>
            </a:extLst>
          </p:cNvPr>
          <p:cNvSpPr txBox="1"/>
          <p:nvPr/>
        </p:nvSpPr>
        <p:spPr>
          <a:xfrm>
            <a:off x="4178384" y="6382633"/>
            <a:ext cx="70879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dirty="0"/>
              <a:t>ARNAVUTKÖY MTAL öğrencilerinin hurdalardan yaptığı TÜRKİYE haritası </a:t>
            </a:r>
          </a:p>
        </p:txBody>
      </p:sp>
    </p:spTree>
    <p:extLst>
      <p:ext uri="{BB962C8B-B14F-4D97-AF65-F5344CB8AC3E}">
        <p14:creationId xmlns:p14="http://schemas.microsoft.com/office/powerpoint/2010/main" val="42379341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9" y="0"/>
            <a:ext cx="8385952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3735977" y="0"/>
            <a:ext cx="8456023" cy="889507"/>
            <a:chOff x="187618" y="3337406"/>
            <a:chExt cx="8198333" cy="88950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187618" y="3337406"/>
              <a:ext cx="8016616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ISO MEIP NAHİT MENTEŞE MTAL YÖNETİM KURULU TOPLANTISI – ALİ EREN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9CB88FAC-7171-C84D-FE69-76A14CCB58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7326" y="369160"/>
            <a:ext cx="985050" cy="1557611"/>
          </a:xfrm>
          <a:prstGeom prst="rect">
            <a:avLst/>
          </a:prstGeom>
        </p:spPr>
      </p:pic>
      <p:pic>
        <p:nvPicPr>
          <p:cNvPr id="2" name="Resim 1">
            <a:extLst>
              <a:ext uri="{FF2B5EF4-FFF2-40B4-BE49-F238E27FC236}">
                <a16:creationId xmlns:a16="http://schemas.microsoft.com/office/drawing/2014/main" id="{E99F6035-7AE6-11E6-BC0F-588534AB0ED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4" r="-2" b="-2"/>
          <a:stretch/>
        </p:blipFill>
        <p:spPr bwMode="auto">
          <a:xfrm>
            <a:off x="182787" y="2396167"/>
            <a:ext cx="2827865" cy="3731891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Resim 4">
            <a:extLst>
              <a:ext uri="{FF2B5EF4-FFF2-40B4-BE49-F238E27FC236}">
                <a16:creationId xmlns:a16="http://schemas.microsoft.com/office/drawing/2014/main" id="{DC3DEE19-4F84-5128-E248-29D386F57C1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4" r="-2" b="-2"/>
          <a:stretch/>
        </p:blipFill>
        <p:spPr>
          <a:xfrm>
            <a:off x="3180760" y="2396167"/>
            <a:ext cx="2827865" cy="3731891"/>
          </a:xfrm>
          <a:prstGeom prst="rect">
            <a:avLst/>
          </a:prstGeom>
        </p:spPr>
      </p:pic>
      <p:pic>
        <p:nvPicPr>
          <p:cNvPr id="10" name="Resim 3">
            <a:extLst>
              <a:ext uri="{FF2B5EF4-FFF2-40B4-BE49-F238E27FC236}">
                <a16:creationId xmlns:a16="http://schemas.microsoft.com/office/drawing/2014/main" id="{9299546A-7E4E-52FF-B4FB-21161D5696F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4" r="-2" b="-2"/>
          <a:stretch/>
        </p:blipFill>
        <p:spPr bwMode="auto">
          <a:xfrm>
            <a:off x="6178733" y="2396167"/>
            <a:ext cx="2827865" cy="3731891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Resim 5">
            <a:extLst>
              <a:ext uri="{FF2B5EF4-FFF2-40B4-BE49-F238E27FC236}">
                <a16:creationId xmlns:a16="http://schemas.microsoft.com/office/drawing/2014/main" id="{E717375C-A19E-7F7D-29DC-2D1691848E0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95" r="24924" b="-1"/>
          <a:stretch/>
        </p:blipFill>
        <p:spPr>
          <a:xfrm>
            <a:off x="9176706" y="2396167"/>
            <a:ext cx="2827865" cy="3731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7786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: Köşeleri Yuvarlatılmış 1">
            <a:extLst>
              <a:ext uri="{FF2B5EF4-FFF2-40B4-BE49-F238E27FC236}">
                <a16:creationId xmlns:a16="http://schemas.microsoft.com/office/drawing/2014/main" id="{61526D21-0BA1-A530-DC84-FA6D102E3BD2}"/>
              </a:ext>
            </a:extLst>
          </p:cNvPr>
          <p:cNvSpPr/>
          <p:nvPr/>
        </p:nvSpPr>
        <p:spPr>
          <a:xfrm>
            <a:off x="3806049" y="0"/>
            <a:ext cx="8385952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id="{5802E721-461C-6D31-FA4E-034A4B0A7CE5}"/>
              </a:ext>
            </a:extLst>
          </p:cNvPr>
          <p:cNvGrpSpPr/>
          <p:nvPr/>
        </p:nvGrpSpPr>
        <p:grpSpPr>
          <a:xfrm>
            <a:off x="3993667" y="0"/>
            <a:ext cx="8198333" cy="889507"/>
            <a:chOff x="187618" y="3337406"/>
            <a:chExt cx="8198333" cy="889507"/>
          </a:xfrm>
        </p:grpSpPr>
        <p:sp>
          <p:nvSpPr>
            <p:cNvPr id="11" name="Dikdörtgen 10">
              <a:extLst>
                <a:ext uri="{FF2B5EF4-FFF2-40B4-BE49-F238E27FC236}">
                  <a16:creationId xmlns:a16="http://schemas.microsoft.com/office/drawing/2014/main" id="{C83EA8D5-785C-DAF7-7C36-C3812003DF99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Metin kutusu 11">
              <a:extLst>
                <a:ext uri="{FF2B5EF4-FFF2-40B4-BE49-F238E27FC236}">
                  <a16:creationId xmlns:a16="http://schemas.microsoft.com/office/drawing/2014/main" id="{CEE11B0B-B01B-E0D2-47B9-55743E2E8361}"/>
                </a:ext>
              </a:extLst>
            </p:cNvPr>
            <p:cNvSpPr txBox="1"/>
            <p:nvPr/>
          </p:nvSpPr>
          <p:spPr>
            <a:xfrm>
              <a:off x="187618" y="333740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İSO MESLEK ÇALIŞMA GRUPLARI</a:t>
              </a:r>
            </a:p>
          </p:txBody>
        </p:sp>
      </p:grpSp>
      <p:sp>
        <p:nvSpPr>
          <p:cNvPr id="19" name="Dikdörtgen 18" descr="Eğitim">
            <a:extLst>
              <a:ext uri="{FF2B5EF4-FFF2-40B4-BE49-F238E27FC236}">
                <a16:creationId xmlns:a16="http://schemas.microsoft.com/office/drawing/2014/main" id="{9B3E0D8D-6D85-D502-5FCE-9C9226BCDB89}"/>
              </a:ext>
            </a:extLst>
          </p:cNvPr>
          <p:cNvSpPr/>
          <p:nvPr/>
        </p:nvSpPr>
        <p:spPr>
          <a:xfrm>
            <a:off x="11540618" y="185271"/>
            <a:ext cx="489228" cy="489228"/>
          </a:xfrm>
          <a:prstGeom prst="rect">
            <a:avLst/>
          </a:prstGeom>
          <a:blipFill rotWithShape="1">
            <a:blip r:embed="rId2"/>
            <a:srcRect/>
            <a:stretch>
              <a:fillRect l="-2000" r="-2000"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F30912A-2F9F-81C1-B7BC-9185B5F8D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135776"/>
              </p:ext>
            </p:extLst>
          </p:nvPr>
        </p:nvGraphicFramePr>
        <p:xfrm>
          <a:off x="979237" y="1790477"/>
          <a:ext cx="9458158" cy="301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29079">
                  <a:extLst>
                    <a:ext uri="{9D8B030D-6E8A-4147-A177-3AD203B41FA5}">
                      <a16:colId xmlns:a16="http://schemas.microsoft.com/office/drawing/2014/main" val="3115258860"/>
                    </a:ext>
                  </a:extLst>
                </a:gridCol>
                <a:gridCol w="4729079">
                  <a:extLst>
                    <a:ext uri="{9D8B030D-6E8A-4147-A177-3AD203B41FA5}">
                      <a16:colId xmlns:a16="http://schemas.microsoft.com/office/drawing/2014/main" val="36607717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tr-TR" sz="3600" dirty="0"/>
                        <a:t>Ko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tr-TR" sz="3600" dirty="0"/>
                        <a:t>Meclis Üyemi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2150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tr-TR" sz="3600" noProof="0" dirty="0"/>
                        <a:t>Sanayinin Finansman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tr-TR" sz="3600" noProof="0" dirty="0" err="1"/>
                        <a:t>Aliosman</a:t>
                      </a:r>
                      <a:r>
                        <a:rPr lang="tr-TR" sz="3600" noProof="0" dirty="0"/>
                        <a:t> </a:t>
                      </a:r>
                      <a:r>
                        <a:rPr lang="tr-TR" sz="3600" noProof="0" dirty="0" err="1"/>
                        <a:t>Mertöz</a:t>
                      </a:r>
                      <a:endParaRPr lang="tr-TR" sz="36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29822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tr-TR" sz="3600" noProof="0" dirty="0"/>
                        <a:t>Teknoloji, AR-GE, İnovasyon ve Dijitalleş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tr-TR" sz="3600" noProof="0" dirty="0"/>
                        <a:t>Cemil </a:t>
                      </a:r>
                      <a:r>
                        <a:rPr lang="tr-TR" sz="3600" noProof="0" dirty="0" err="1"/>
                        <a:t>Tayman</a:t>
                      </a:r>
                      <a:endParaRPr lang="tr-TR" sz="36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9303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104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9" y="0"/>
            <a:ext cx="8385952" cy="1568408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3993667" y="284614"/>
            <a:ext cx="8198333" cy="889507"/>
            <a:chOff x="187618" y="3337406"/>
            <a:chExt cx="8198333" cy="88950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187618" y="333740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Ticaret Bakanlığı – İstanbul Sanayi Odası Meslek Komiteleri İstişare Toplantısı</a:t>
              </a:r>
            </a:p>
          </p:txBody>
        </p:sp>
      </p:grpSp>
      <p:pic>
        <p:nvPicPr>
          <p:cNvPr id="3" name="Picture 2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48CEC357-9B08-B833-ACF1-F0E1B9C82F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364" y="1683464"/>
            <a:ext cx="2350342" cy="4178386"/>
          </a:xfrm>
          <a:prstGeom prst="rect">
            <a:avLst/>
          </a:prstGeom>
        </p:spPr>
      </p:pic>
      <p:pic>
        <p:nvPicPr>
          <p:cNvPr id="11" name="Picture 10" descr="A sign on a stand&#10;&#10;Description automatically generated">
            <a:extLst>
              <a:ext uri="{FF2B5EF4-FFF2-40B4-BE49-F238E27FC236}">
                <a16:creationId xmlns:a16="http://schemas.microsoft.com/office/drawing/2014/main" id="{34539501-7FAC-F57D-A2FC-5444B56B6F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081" y="1683464"/>
            <a:ext cx="2350342" cy="4178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5250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8" y="284614"/>
            <a:ext cx="8385952" cy="1568408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4090557" y="284614"/>
            <a:ext cx="8101443" cy="1218747"/>
            <a:chOff x="284508" y="3337406"/>
            <a:chExt cx="8101443" cy="121874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284508" y="366664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l" fontAlgn="t"/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İSO ve ŞUTSO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Yapı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ve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İnşaat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Komiteleri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Ortak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Toplantı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Gerçek</a:t>
              </a:r>
              <a:r>
                <a:rPr lang="tr-TR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leş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tirdi</a:t>
              </a:r>
              <a:endParaRPr lang="en-GB" sz="3600" b="1" i="0" dirty="0">
                <a:solidFill>
                  <a:srgbClr val="1862AB"/>
                </a:solidFill>
                <a:effectLst/>
                <a:latin typeface="Trebuchet MS" panose="020B0603020202020204" pitchFamily="34" charset="0"/>
              </a:endParaRPr>
            </a:p>
          </p:txBody>
        </p:sp>
      </p:grpSp>
      <p:pic>
        <p:nvPicPr>
          <p:cNvPr id="1026" name="Picture 2" descr="manset_haber_01_04_44">
            <a:extLst>
              <a:ext uri="{FF2B5EF4-FFF2-40B4-BE49-F238E27FC236}">
                <a16:creationId xmlns:a16="http://schemas.microsoft.com/office/drawing/2014/main" id="{5C8E637E-2332-82E9-7F52-BDF2B0F2E7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609" y="2094049"/>
            <a:ext cx="8382000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00406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8" y="284614"/>
            <a:ext cx="8385952" cy="1568408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4090557" y="284614"/>
            <a:ext cx="8101443" cy="1218747"/>
            <a:chOff x="284508" y="3337406"/>
            <a:chExt cx="8101443" cy="121874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284508" y="366664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l" fontAlgn="t"/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Metal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Aletler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,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Hırdavat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ve Isı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Cihazları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Sektörünün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Dijital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Dönüşümü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Ele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Alındı</a:t>
              </a:r>
              <a:endParaRPr lang="en-GB" sz="3600" b="1" i="0" dirty="0">
                <a:solidFill>
                  <a:srgbClr val="1862AB"/>
                </a:solidFill>
                <a:effectLst/>
                <a:latin typeface="Trebuchet MS" panose="020B0603020202020204" pitchFamily="34" charset="0"/>
              </a:endParaRPr>
            </a:p>
          </p:txBody>
        </p:sp>
      </p:grpSp>
      <p:pic>
        <p:nvPicPr>
          <p:cNvPr id="3076" name="Picture 4" descr="44_grup_manset_01">
            <a:extLst>
              <a:ext uri="{FF2B5EF4-FFF2-40B4-BE49-F238E27FC236}">
                <a16:creationId xmlns:a16="http://schemas.microsoft.com/office/drawing/2014/main" id="{91B2183C-4902-ECAB-275A-0E7E2EEB08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2547" y="2263606"/>
            <a:ext cx="8382000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263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8" y="72667"/>
            <a:ext cx="8385952" cy="1568408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4132947" y="72667"/>
            <a:ext cx="8059053" cy="1273248"/>
            <a:chOff x="326898" y="3337406"/>
            <a:chExt cx="8059053" cy="1273248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326898" y="3721147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l" fontAlgn="t"/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Yıldız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Teknik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Üniversitesi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Makine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Mühendisliği’ne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44.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Grup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Meslek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Komitesi</a:t>
              </a:r>
              <a:r>
                <a:rPr lang="en-GB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 </a:t>
              </a:r>
              <a:r>
                <a:rPr lang="en-GB" sz="3600" b="1" i="0" dirty="0" err="1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Ziyareti</a:t>
              </a:r>
              <a:endParaRPr lang="en-GB" sz="3600" b="1" i="0" dirty="0">
                <a:solidFill>
                  <a:srgbClr val="1862AB"/>
                </a:solidFill>
                <a:effectLst/>
                <a:latin typeface="Trebuchet MS" panose="020B0603020202020204" pitchFamily="34" charset="0"/>
              </a:endParaRPr>
            </a:p>
          </p:txBody>
        </p:sp>
      </p:grpSp>
      <p:pic>
        <p:nvPicPr>
          <p:cNvPr id="2050" name="Picture 2" descr="40_grup_manset">
            <a:extLst>
              <a:ext uri="{FF2B5EF4-FFF2-40B4-BE49-F238E27FC236}">
                <a16:creationId xmlns:a16="http://schemas.microsoft.com/office/drawing/2014/main" id="{C550579B-F8AD-3649-B72A-A5626237B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105" y="2348386"/>
            <a:ext cx="8382000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60360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8" y="284614"/>
            <a:ext cx="8385952" cy="1568408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4090557" y="284614"/>
            <a:ext cx="8101443" cy="1218747"/>
            <a:chOff x="284508" y="3337406"/>
            <a:chExt cx="8101443" cy="121874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284508" y="366664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r>
                <a:rPr lang="tr-TR" sz="3600" b="1" dirty="0">
                  <a:solidFill>
                    <a:srgbClr val="1862AB"/>
                  </a:solidFill>
                  <a:latin typeface="Trebuchet MS" panose="020B0603020202020204" pitchFamily="34" charset="0"/>
                </a:rPr>
                <a:t>Gelir İdaresi Başkanı ve Hazine Bakan Yardımcımız ile ISO Meslek Komiteleri Görüşme</a:t>
              </a:r>
              <a:endParaRPr lang="en-GB" sz="3600" b="1" dirty="0">
                <a:solidFill>
                  <a:srgbClr val="1862AB"/>
                </a:solidFill>
                <a:latin typeface="Trebuchet MS" panose="020B0603020202020204" pitchFamily="34" charset="0"/>
              </a:endParaRPr>
            </a:p>
          </p:txBody>
        </p:sp>
      </p:grpSp>
      <p:pic>
        <p:nvPicPr>
          <p:cNvPr id="3" name="Picture 2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44A061CF-05C8-ACF4-9876-467E80EA3C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8675" y="1935915"/>
            <a:ext cx="6334421" cy="4220308"/>
          </a:xfrm>
          <a:prstGeom prst="rect">
            <a:avLst/>
          </a:prstGeom>
        </p:spPr>
      </p:pic>
      <p:pic>
        <p:nvPicPr>
          <p:cNvPr id="10" name="Picture 9" descr="A group of men sitting at a table&#10;&#10;Description automatically generated">
            <a:extLst>
              <a:ext uri="{FF2B5EF4-FFF2-40B4-BE49-F238E27FC236}">
                <a16:creationId xmlns:a16="http://schemas.microsoft.com/office/drawing/2014/main" id="{164F9E7E-2F98-D0BD-1AC5-E86079BB4E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92" y="2285876"/>
            <a:ext cx="4926167" cy="328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3658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8" y="284614"/>
            <a:ext cx="8385952" cy="1568408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4090557" y="284614"/>
            <a:ext cx="8101443" cy="1218747"/>
            <a:chOff x="284508" y="3337406"/>
            <a:chExt cx="8101443" cy="121874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284508" y="366664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l" fontAlgn="t"/>
              <a:r>
                <a:rPr lang="tr-TR" sz="3600" b="1" i="0" dirty="0">
                  <a:solidFill>
                    <a:srgbClr val="1862AB"/>
                  </a:solidFill>
                  <a:effectLst/>
                  <a:latin typeface="Trebuchet MS" panose="020B0603020202020204" pitchFamily="34" charset="0"/>
                </a:rPr>
                <a:t>Merkez Bankası Başkanı ile ISO Meslek Komiteleri Görüşme</a:t>
              </a:r>
              <a:endParaRPr lang="en-GB" sz="3600" b="1" i="0" dirty="0">
                <a:solidFill>
                  <a:srgbClr val="1862AB"/>
                </a:solidFill>
                <a:effectLst/>
                <a:latin typeface="Trebuchet MS" panose="020B0603020202020204" pitchFamily="34" charset="0"/>
              </a:endParaRPr>
            </a:p>
          </p:txBody>
        </p:sp>
      </p:grpSp>
      <p:pic>
        <p:nvPicPr>
          <p:cNvPr id="3" name="Picture 2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EED27BFE-9896-322E-E2CF-9BF2755A88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5591" y="2001386"/>
            <a:ext cx="6971739" cy="465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9297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8" y="284614"/>
            <a:ext cx="8385952" cy="1568408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4090557" y="284614"/>
            <a:ext cx="8101443" cy="1218747"/>
            <a:chOff x="284508" y="3337406"/>
            <a:chExt cx="8101443" cy="121874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284508" y="366664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r>
                <a:rPr lang="tr-TR" sz="3600" b="1" dirty="0">
                  <a:solidFill>
                    <a:srgbClr val="1862AB"/>
                  </a:solidFill>
                  <a:latin typeface="Trebuchet MS" panose="020B0603020202020204" pitchFamily="34" charset="0"/>
                </a:rPr>
                <a:t>ISO Endüstriyel Tasarım ve Prototipleme Merkezi Ziyareti</a:t>
              </a:r>
              <a:endParaRPr lang="en-GB" sz="3600" b="1" dirty="0">
                <a:solidFill>
                  <a:srgbClr val="1862AB"/>
                </a:solidFill>
                <a:latin typeface="Trebuchet MS" panose="020B0603020202020204" pitchFamily="34" charset="0"/>
              </a:endParaRPr>
            </a:p>
          </p:txBody>
        </p:sp>
      </p:grpSp>
      <p:pic>
        <p:nvPicPr>
          <p:cNvPr id="3" name="Picture 2" descr="A group of men standing in a line&#10;&#10;Description automatically generated">
            <a:extLst>
              <a:ext uri="{FF2B5EF4-FFF2-40B4-BE49-F238E27FC236}">
                <a16:creationId xmlns:a16="http://schemas.microsoft.com/office/drawing/2014/main" id="{C852CA84-50B2-CDBF-2507-EBA9DEC375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572" y="1949738"/>
            <a:ext cx="3571142" cy="4761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2934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C6215D-02B8-E4AF-AE07-CE3D775C6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27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ikdörtgen: Köşeleri Yuvarlatılmış 12">
            <a:extLst>
              <a:ext uri="{FF2B5EF4-FFF2-40B4-BE49-F238E27FC236}">
                <a16:creationId xmlns:a16="http://schemas.microsoft.com/office/drawing/2014/main" id="{AD71DD28-29DE-F65E-F166-60110EB2CF2A}"/>
              </a:ext>
            </a:extLst>
          </p:cNvPr>
          <p:cNvSpPr/>
          <p:nvPr/>
        </p:nvSpPr>
        <p:spPr>
          <a:xfrm>
            <a:off x="3108960" y="0"/>
            <a:ext cx="9083040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13" name="Grup 14">
            <a:extLst>
              <a:ext uri="{FF2B5EF4-FFF2-40B4-BE49-F238E27FC236}">
                <a16:creationId xmlns:a16="http://schemas.microsoft.com/office/drawing/2014/main" id="{D3125505-3DFF-0B93-02D8-FE2A32665855}"/>
              </a:ext>
            </a:extLst>
          </p:cNvPr>
          <p:cNvGrpSpPr/>
          <p:nvPr/>
        </p:nvGrpSpPr>
        <p:grpSpPr>
          <a:xfrm>
            <a:off x="3233651" y="41612"/>
            <a:ext cx="8653160" cy="889507"/>
            <a:chOff x="1027380" y="1755"/>
            <a:chExt cx="7627589" cy="889507"/>
          </a:xfrm>
        </p:grpSpPr>
        <p:sp>
          <p:nvSpPr>
            <p:cNvPr id="14" name="Dikdörtgen 15">
              <a:extLst>
                <a:ext uri="{FF2B5EF4-FFF2-40B4-BE49-F238E27FC236}">
                  <a16:creationId xmlns:a16="http://schemas.microsoft.com/office/drawing/2014/main" id="{558100B6-5586-2B21-5332-08F936B80AE0}"/>
                </a:ext>
              </a:extLst>
            </p:cNvPr>
            <p:cNvSpPr/>
            <p:nvPr/>
          </p:nvSpPr>
          <p:spPr>
            <a:xfrm>
              <a:off x="1027380" y="1755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Metin kutusu 16">
              <a:extLst>
                <a:ext uri="{FF2B5EF4-FFF2-40B4-BE49-F238E27FC236}">
                  <a16:creationId xmlns:a16="http://schemas.microsoft.com/office/drawing/2014/main" id="{328764C6-975C-5C3A-0BE4-9C3BECC22C19}"/>
                </a:ext>
              </a:extLst>
            </p:cNvPr>
            <p:cNvSpPr txBox="1"/>
            <p:nvPr/>
          </p:nvSpPr>
          <p:spPr>
            <a:xfrm>
              <a:off x="1107640" y="47880"/>
              <a:ext cx="7547329" cy="700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/>
              <a:r>
                <a:rPr lang="tr-TR" sz="3600" b="1" dirty="0">
                  <a:solidFill>
                    <a:schemeClr val="tx1"/>
                  </a:solidFill>
                </a:rPr>
                <a:t>İSTANBUL SANAYİ ODASI TANITIM</a:t>
              </a:r>
            </a:p>
          </p:txBody>
        </p:sp>
      </p:grpSp>
      <p:graphicFrame>
        <p:nvGraphicFramePr>
          <p:cNvPr id="21" name="Object 20">
            <a:extLst>
              <a:ext uri="{FF2B5EF4-FFF2-40B4-BE49-F238E27FC236}">
                <a16:creationId xmlns:a16="http://schemas.microsoft.com/office/drawing/2014/main" id="{77F76CDF-F134-BD05-C512-728B748F01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66779331"/>
              </p:ext>
            </p:extLst>
          </p:nvPr>
        </p:nvGraphicFramePr>
        <p:xfrm>
          <a:off x="3108960" y="2914650"/>
          <a:ext cx="1485900" cy="51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5" imgW="1485913" imgH="514350" progId="Package">
                  <p:embed/>
                </p:oleObj>
              </mc:Choice>
              <mc:Fallback>
                <p:oleObj name="Packager Shell Object" showAsIcon="1" r:id="rId5" imgW="1485913" imgH="51435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08960" y="2914650"/>
                        <a:ext cx="1485900" cy="514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769650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E118BE-60A2-3FB2-74B8-8FEF900139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4430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6C7374DD-7A68-9FCD-C7BF-5270D2C13351}"/>
              </a:ext>
            </a:extLst>
          </p:cNvPr>
          <p:cNvSpPr/>
          <p:nvPr/>
        </p:nvSpPr>
        <p:spPr>
          <a:xfrm>
            <a:off x="3806049" y="90240"/>
            <a:ext cx="8385952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3A203C66-AE6D-5CB8-41C2-D4CFE2D55982}"/>
              </a:ext>
            </a:extLst>
          </p:cNvPr>
          <p:cNvGrpSpPr/>
          <p:nvPr/>
        </p:nvGrpSpPr>
        <p:grpSpPr>
          <a:xfrm>
            <a:off x="3993667" y="90240"/>
            <a:ext cx="8198333" cy="889507"/>
            <a:chOff x="187618" y="3337406"/>
            <a:chExt cx="8198333" cy="88950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7466C05F-94DF-337C-DA74-21DC785E82DE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218D6437-AEEA-F58F-46B2-48C0CB5899EE}"/>
                </a:ext>
              </a:extLst>
            </p:cNvPr>
            <p:cNvSpPr txBox="1"/>
            <p:nvPr/>
          </p:nvSpPr>
          <p:spPr>
            <a:xfrm>
              <a:off x="187618" y="333740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Neler Yapabiliriz?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BEE0F904-99F1-2848-E25C-8C86DDFFF46F}"/>
              </a:ext>
            </a:extLst>
          </p:cNvPr>
          <p:cNvSpPr txBox="1"/>
          <p:nvPr/>
        </p:nvSpPr>
        <p:spPr>
          <a:xfrm>
            <a:off x="878305" y="1130567"/>
            <a:ext cx="108945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800" b="1" dirty="0"/>
              <a:t>Bu Süreçte Temkinli İyimserliğimizi Koruyup Risklere Karşı Tedbirleri Almamız Yerinde Olur: </a:t>
            </a:r>
            <a:endParaRPr lang="en-GB" sz="24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FACA93-0A23-2F4A-7BD8-2A4FC999FD6E}"/>
              </a:ext>
            </a:extLst>
          </p:cNvPr>
          <p:cNvSpPr/>
          <p:nvPr/>
        </p:nvSpPr>
        <p:spPr>
          <a:xfrm>
            <a:off x="731858" y="2296734"/>
            <a:ext cx="10937930" cy="7694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400" b="0" i="0" u="none" strike="noStrike" kern="1200" cap="none" spc="0" normalizeH="0" baseline="0" noProof="0" dirty="0">
                <a:ln w="0"/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KİT RİSKİ + FAİZ RİSKİ + KREDİ RİSKİ</a:t>
            </a:r>
            <a:endParaRPr kumimoji="0" lang="en-US" sz="4400" b="0" i="0" u="none" strike="noStrike" kern="1200" cap="none" spc="0" normalizeH="0" baseline="0" noProof="0" dirty="0">
              <a:ln w="0"/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91D844-C3A3-BE80-4D72-217264EAC7E5}"/>
              </a:ext>
            </a:extLst>
          </p:cNvPr>
          <p:cNvSpPr/>
          <p:nvPr/>
        </p:nvSpPr>
        <p:spPr>
          <a:xfrm>
            <a:off x="1213034" y="3229065"/>
            <a:ext cx="10225136" cy="1601613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orlu ekonomik koşullar =&gt; İyi risk yönetimi =&gt; Fırsatlar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iske karşı önlem &amp; Temkinli İYİMSERLİK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ISO’nun sağladığı tüm eğitimleri ve yönlendirmeleri takip</a:t>
            </a:r>
            <a:endParaRPr kumimoji="0" lang="tr-TR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92C362-D518-504E-370D-22E6E6A21349}"/>
              </a:ext>
            </a:extLst>
          </p:cNvPr>
          <p:cNvSpPr/>
          <p:nvPr/>
        </p:nvSpPr>
        <p:spPr>
          <a:xfrm>
            <a:off x="731858" y="4926931"/>
            <a:ext cx="1197142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hracat Teşvikleri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90868C-AE11-0E54-B3D3-2B878C761DE7}"/>
              </a:ext>
            </a:extLst>
          </p:cNvPr>
          <p:cNvSpPr/>
          <p:nvPr/>
        </p:nvSpPr>
        <p:spPr>
          <a:xfrm>
            <a:off x="2460395" y="4926931"/>
            <a:ext cx="1197142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Dahilde İzin İşleme Belgesi</a:t>
            </a:r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3F876A-C99E-D93D-A395-D9D70907B7CB}"/>
              </a:ext>
            </a:extLst>
          </p:cNvPr>
          <p:cNvSpPr/>
          <p:nvPr/>
        </p:nvSpPr>
        <p:spPr>
          <a:xfrm>
            <a:off x="4234858" y="4926931"/>
            <a:ext cx="1197142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Yatırım Teşvikleri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97E07A4-DA0F-B3CB-E349-69AF1544C0DF}"/>
              </a:ext>
            </a:extLst>
          </p:cNvPr>
          <p:cNvSpPr/>
          <p:nvPr/>
        </p:nvSpPr>
        <p:spPr>
          <a:xfrm>
            <a:off x="5909253" y="4926931"/>
            <a:ext cx="1197142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İSO Eğitimleri Takip</a:t>
            </a:r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DBFD0BB-EC7E-BF7F-00A9-0969D2E5F2DC}"/>
              </a:ext>
            </a:extLst>
          </p:cNvPr>
          <p:cNvSpPr/>
          <p:nvPr/>
        </p:nvSpPr>
        <p:spPr>
          <a:xfrm>
            <a:off x="7535521" y="4926931"/>
            <a:ext cx="1197142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Hedef Pazarlara ulaşmak 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2F0F3B-C63F-3785-76CD-C71EB4BD4312}"/>
              </a:ext>
            </a:extLst>
          </p:cNvPr>
          <p:cNvSpPr/>
          <p:nvPr/>
        </p:nvSpPr>
        <p:spPr>
          <a:xfrm>
            <a:off x="9133844" y="4926931"/>
            <a:ext cx="1197142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Enerji Verimliliği</a:t>
            </a:r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7C18271-AB47-8211-0452-FCE7289D43ED}"/>
              </a:ext>
            </a:extLst>
          </p:cNvPr>
          <p:cNvSpPr/>
          <p:nvPr/>
        </p:nvSpPr>
        <p:spPr>
          <a:xfrm>
            <a:off x="10653963" y="4926931"/>
            <a:ext cx="1304573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Dijitalleş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30881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Resim 4" descr="metin içeren bir resim&#10;&#10;Açıklama otomatik olarak oluşturuldu">
            <a:extLst>
              <a:ext uri="{FF2B5EF4-FFF2-40B4-BE49-F238E27FC236}">
                <a16:creationId xmlns:a16="http://schemas.microsoft.com/office/drawing/2014/main" id="{88B5D2EF-E688-44AB-C689-E6DFCDD689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0"/>
            <a:ext cx="12191238" cy="6858000"/>
          </a:xfrm>
          <a:prstGeom prst="rect">
            <a:avLst/>
          </a:prstGeom>
        </p:spPr>
      </p:pic>
      <p:sp>
        <p:nvSpPr>
          <p:cNvPr id="2" name="Metin kutusu 1">
            <a:extLst>
              <a:ext uri="{FF2B5EF4-FFF2-40B4-BE49-F238E27FC236}">
                <a16:creationId xmlns:a16="http://schemas.microsoft.com/office/drawing/2014/main" id="{81B596CA-44FB-1468-28B6-5B0013016EB2}"/>
              </a:ext>
            </a:extLst>
          </p:cNvPr>
          <p:cNvSpPr txBox="1"/>
          <p:nvPr/>
        </p:nvSpPr>
        <p:spPr>
          <a:xfrm>
            <a:off x="4842293" y="5232902"/>
            <a:ext cx="286347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tr-TR" sz="3600" b="0" i="0" dirty="0">
                <a:solidFill>
                  <a:schemeClr val="bg1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tr-TR" sz="3600" dirty="0">
                <a:solidFill>
                  <a:schemeClr val="bg1"/>
                </a:solidFill>
                <a:cs typeface="Times New Roman" panose="02020603050405020304" pitchFamily="18" charset="0"/>
              </a:rPr>
              <a:t>TEŞEKKÜRLER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1344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ikdörtgen: Köşeleri Yuvarlatılmış 12">
            <a:extLst>
              <a:ext uri="{FF2B5EF4-FFF2-40B4-BE49-F238E27FC236}">
                <a16:creationId xmlns:a16="http://schemas.microsoft.com/office/drawing/2014/main" id="{1CADC71F-BCF3-DAFE-1BF8-662FF066F0B2}"/>
              </a:ext>
            </a:extLst>
          </p:cNvPr>
          <p:cNvSpPr/>
          <p:nvPr/>
        </p:nvSpPr>
        <p:spPr>
          <a:xfrm>
            <a:off x="3108960" y="0"/>
            <a:ext cx="9083040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15" name="Grup 14">
            <a:extLst>
              <a:ext uri="{FF2B5EF4-FFF2-40B4-BE49-F238E27FC236}">
                <a16:creationId xmlns:a16="http://schemas.microsoft.com/office/drawing/2014/main" id="{38A04305-F4A2-5EE5-9F69-F4D6CECA09A7}"/>
              </a:ext>
            </a:extLst>
          </p:cNvPr>
          <p:cNvGrpSpPr/>
          <p:nvPr/>
        </p:nvGrpSpPr>
        <p:grpSpPr>
          <a:xfrm>
            <a:off x="3233651" y="41612"/>
            <a:ext cx="8653160" cy="889507"/>
            <a:chOff x="1027380" y="1755"/>
            <a:chExt cx="7627589" cy="889507"/>
          </a:xfrm>
        </p:grpSpPr>
        <p:sp>
          <p:nvSpPr>
            <p:cNvPr id="16" name="Dikdörtgen 15">
              <a:extLst>
                <a:ext uri="{FF2B5EF4-FFF2-40B4-BE49-F238E27FC236}">
                  <a16:creationId xmlns:a16="http://schemas.microsoft.com/office/drawing/2014/main" id="{991E59FC-BAC3-D46C-CF41-CC315C35CA7E}"/>
                </a:ext>
              </a:extLst>
            </p:cNvPr>
            <p:cNvSpPr/>
            <p:nvPr/>
          </p:nvSpPr>
          <p:spPr>
            <a:xfrm>
              <a:off x="1027380" y="1755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Metin kutusu 16">
              <a:extLst>
                <a:ext uri="{FF2B5EF4-FFF2-40B4-BE49-F238E27FC236}">
                  <a16:creationId xmlns:a16="http://schemas.microsoft.com/office/drawing/2014/main" id="{FBA2CC10-FD2B-AF97-0D51-4B50B8042740}"/>
                </a:ext>
              </a:extLst>
            </p:cNvPr>
            <p:cNvSpPr txBox="1"/>
            <p:nvPr/>
          </p:nvSpPr>
          <p:spPr>
            <a:xfrm>
              <a:off x="1107640" y="47880"/>
              <a:ext cx="7547329" cy="700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/>
              <a:r>
                <a:rPr lang="tr-TR" sz="3600" b="1" dirty="0">
                  <a:solidFill>
                    <a:schemeClr val="tx1"/>
                  </a:solidFill>
                </a:rPr>
                <a:t>Meslek Komitelerinin Görevleri</a:t>
              </a:r>
            </a:p>
          </p:txBody>
        </p:sp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41D2A15D-C52D-42F4-81F8-E4F87BB7475D}"/>
              </a:ext>
            </a:extLst>
          </p:cNvPr>
          <p:cNvSpPr/>
          <p:nvPr/>
        </p:nvSpPr>
        <p:spPr>
          <a:xfrm>
            <a:off x="801904" y="1344562"/>
            <a:ext cx="10588191" cy="5282388"/>
          </a:xfrm>
          <a:prstGeom prst="ellipse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endParaRPr lang="tr-TR" dirty="0">
              <a:solidFill>
                <a:schemeClr val="accent6">
                  <a:lumMod val="75000"/>
                </a:schemeClr>
              </a:solidFill>
            </a:endParaRPr>
          </a:p>
          <a:p>
            <a:pPr lvl="0">
              <a:spcAft>
                <a:spcPts val="300"/>
              </a:spcAft>
              <a:tabLst>
                <a:tab pos="228600" algn="l"/>
              </a:tabLst>
            </a:pPr>
            <a:endParaRPr lang="tr-TR" sz="2200" dirty="0">
              <a:solidFill>
                <a:schemeClr val="tx1"/>
              </a:solidFill>
            </a:endParaRPr>
          </a:p>
          <a:p>
            <a:pPr indent="-342900" algn="just">
              <a:spcAft>
                <a:spcPts val="300"/>
              </a:spcAft>
              <a:buFont typeface="Wingdings" panose="05000000000000000000" pitchFamily="2" charset="2"/>
              <a:buChar char=""/>
              <a:tabLst>
                <a:tab pos="228600" algn="l"/>
              </a:tabLst>
            </a:pPr>
            <a:r>
              <a:rPr lang="tr-TR" sz="2400" dirty="0">
                <a:solidFill>
                  <a:schemeClr val="tx1"/>
                </a:solidFill>
              </a:rPr>
              <a:t>Meslekleri ile ilgili incelemeler yapmak, yararlı ve gerekli gördükleri tedbirleri görüşülmek üzere yönetim kuruluna teklif etmek.</a:t>
            </a:r>
          </a:p>
          <a:p>
            <a:pPr algn="just">
              <a:spcAft>
                <a:spcPts val="300"/>
              </a:spcAft>
              <a:tabLst>
                <a:tab pos="228600" algn="l"/>
              </a:tabLst>
            </a:pPr>
            <a:endParaRPr lang="tr-TR" sz="2400" dirty="0">
              <a:solidFill>
                <a:schemeClr val="tx1"/>
              </a:solidFill>
            </a:endParaRPr>
          </a:p>
          <a:p>
            <a:pPr lvl="0" indent="-342900" algn="just">
              <a:spcAft>
                <a:spcPts val="300"/>
              </a:spcAft>
              <a:buFont typeface="Wingdings" panose="05000000000000000000" pitchFamily="2" charset="2"/>
              <a:buChar char=""/>
              <a:tabLst>
                <a:tab pos="228600" algn="l"/>
              </a:tabLst>
            </a:pPr>
            <a:r>
              <a:rPr lang="tr-TR" sz="2400" dirty="0">
                <a:solidFill>
                  <a:schemeClr val="tx1"/>
                </a:solidFill>
              </a:rPr>
              <a:t>Mesleklerine ait işler hakkında, meclis veya yönetim kurulu tarafından bilgi istenmesi halinde, bu konuda araştırma yapmak ve istemi cevaplandırmak.</a:t>
            </a:r>
          </a:p>
          <a:p>
            <a:pPr algn="ctr">
              <a:spcAft>
                <a:spcPts val="300"/>
              </a:spcAft>
            </a:pPr>
            <a:endParaRPr lang="tr-TR" dirty="0">
              <a:solidFill>
                <a:schemeClr val="tx1"/>
              </a:solidFill>
            </a:endParaRPr>
          </a:p>
          <a:p>
            <a:pPr algn="ctr"/>
            <a:endParaRPr lang="tr-TR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endParaRPr lang="tr-TR" dirty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endParaRPr lang="tr-TR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76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Rectangle 2054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02022C-8170-B670-7A87-AE211598C4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458" y="1232451"/>
            <a:ext cx="6211287" cy="28522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1CC743-A90B-6016-6BBF-69C6672095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606" y="1232451"/>
            <a:ext cx="4083212" cy="4631635"/>
          </a:xfrm>
          <a:prstGeom prst="rect">
            <a:avLst/>
          </a:prstGeom>
        </p:spPr>
      </p:pic>
      <p:sp>
        <p:nvSpPr>
          <p:cNvPr id="11" name="Metin kutusu 6">
            <a:extLst>
              <a:ext uri="{FF2B5EF4-FFF2-40B4-BE49-F238E27FC236}">
                <a16:creationId xmlns:a16="http://schemas.microsoft.com/office/drawing/2014/main" id="{01A9FFD6-5059-499B-B49A-C8DAACCE980D}"/>
              </a:ext>
            </a:extLst>
          </p:cNvPr>
          <p:cNvSpPr txBox="1"/>
          <p:nvPr/>
        </p:nvSpPr>
        <p:spPr>
          <a:xfrm>
            <a:off x="332458" y="4302110"/>
            <a:ext cx="609750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4000" b="1" dirty="0"/>
              <a:t>7 Meslek </a:t>
            </a:r>
          </a:p>
          <a:p>
            <a:pPr algn="ctr"/>
            <a:r>
              <a:rPr lang="tr-TR" sz="4000" b="1" dirty="0"/>
              <a:t>Komitesi Üyesi </a:t>
            </a:r>
          </a:p>
        </p:txBody>
      </p:sp>
    </p:spTree>
    <p:extLst>
      <p:ext uri="{BB962C8B-B14F-4D97-AF65-F5344CB8AC3E}">
        <p14:creationId xmlns:p14="http://schemas.microsoft.com/office/powerpoint/2010/main" val="376624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ikdörtgen: Köşeleri Yuvarlatılmış 12">
            <a:extLst>
              <a:ext uri="{FF2B5EF4-FFF2-40B4-BE49-F238E27FC236}">
                <a16:creationId xmlns:a16="http://schemas.microsoft.com/office/drawing/2014/main" id="{1CADC71F-BCF3-DAFE-1BF8-662FF066F0B2}"/>
              </a:ext>
            </a:extLst>
          </p:cNvPr>
          <p:cNvSpPr/>
          <p:nvPr/>
        </p:nvSpPr>
        <p:spPr>
          <a:xfrm>
            <a:off x="3108960" y="0"/>
            <a:ext cx="9083040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15" name="Grup 14">
            <a:extLst>
              <a:ext uri="{FF2B5EF4-FFF2-40B4-BE49-F238E27FC236}">
                <a16:creationId xmlns:a16="http://schemas.microsoft.com/office/drawing/2014/main" id="{38A04305-F4A2-5EE5-9F69-F4D6CECA09A7}"/>
              </a:ext>
            </a:extLst>
          </p:cNvPr>
          <p:cNvGrpSpPr/>
          <p:nvPr/>
        </p:nvGrpSpPr>
        <p:grpSpPr>
          <a:xfrm>
            <a:off x="3233651" y="41612"/>
            <a:ext cx="8653160" cy="889507"/>
            <a:chOff x="1027380" y="1755"/>
            <a:chExt cx="7627589" cy="889507"/>
          </a:xfrm>
        </p:grpSpPr>
        <p:sp>
          <p:nvSpPr>
            <p:cNvPr id="16" name="Dikdörtgen 15">
              <a:extLst>
                <a:ext uri="{FF2B5EF4-FFF2-40B4-BE49-F238E27FC236}">
                  <a16:creationId xmlns:a16="http://schemas.microsoft.com/office/drawing/2014/main" id="{991E59FC-BAC3-D46C-CF41-CC315C35CA7E}"/>
                </a:ext>
              </a:extLst>
            </p:cNvPr>
            <p:cNvSpPr/>
            <p:nvPr/>
          </p:nvSpPr>
          <p:spPr>
            <a:xfrm>
              <a:off x="1027380" y="1755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Metin kutusu 16">
              <a:extLst>
                <a:ext uri="{FF2B5EF4-FFF2-40B4-BE49-F238E27FC236}">
                  <a16:creationId xmlns:a16="http://schemas.microsoft.com/office/drawing/2014/main" id="{FBA2CC10-FD2B-AF97-0D51-4B50B8042740}"/>
                </a:ext>
              </a:extLst>
            </p:cNvPr>
            <p:cNvSpPr txBox="1"/>
            <p:nvPr/>
          </p:nvSpPr>
          <p:spPr>
            <a:xfrm>
              <a:off x="1107640" y="47880"/>
              <a:ext cx="7547329" cy="700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/>
              <a:r>
                <a:rPr lang="tr-TR" sz="3600" b="1" dirty="0">
                  <a:solidFill>
                    <a:schemeClr val="tx1"/>
                  </a:solidFill>
                </a:rPr>
                <a:t>SAYFAMIZ</a:t>
              </a: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89ACA5A0-6124-D257-8AB6-A16879F8E0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47" y="1436038"/>
            <a:ext cx="5862166" cy="49066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E902B5A-EA26-C111-4B83-474209F46924}"/>
              </a:ext>
            </a:extLst>
          </p:cNvPr>
          <p:cNvSpPr txBox="1"/>
          <p:nvPr/>
        </p:nvSpPr>
        <p:spPr>
          <a:xfrm>
            <a:off x="556219" y="1018856"/>
            <a:ext cx="60970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70C0"/>
                </a:solidFill>
              </a:rPr>
              <a:t>https://www.iso.org.tr/meslek-komiteleri/44-gru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F64ABBC-0262-272D-6B2F-941E96D00847}"/>
              </a:ext>
            </a:extLst>
          </p:cNvPr>
          <p:cNvSpPr/>
          <p:nvPr/>
        </p:nvSpPr>
        <p:spPr>
          <a:xfrm>
            <a:off x="5056816" y="2405670"/>
            <a:ext cx="1478997" cy="190858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Ok: Aşağı 7">
            <a:extLst>
              <a:ext uri="{FF2B5EF4-FFF2-40B4-BE49-F238E27FC236}">
                <a16:creationId xmlns:a16="http://schemas.microsoft.com/office/drawing/2014/main" id="{0CDC4DEF-D09E-D67B-5779-599DEB74228E}"/>
              </a:ext>
            </a:extLst>
          </p:cNvPr>
          <p:cNvSpPr/>
          <p:nvPr/>
        </p:nvSpPr>
        <p:spPr>
          <a:xfrm rot="16200000">
            <a:off x="6650882" y="2954985"/>
            <a:ext cx="484632" cy="463397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01CD8B-3E41-E3DE-83D3-3C9330F40B34}"/>
              </a:ext>
            </a:extLst>
          </p:cNvPr>
          <p:cNvSpPr txBox="1"/>
          <p:nvPr/>
        </p:nvSpPr>
        <p:spPr>
          <a:xfrm>
            <a:off x="7186708" y="2725018"/>
            <a:ext cx="17731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/>
              <a:t>ISO Eğitimlerini yakından takip edebilirsiniz. </a:t>
            </a:r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7049C53-1533-F287-D0A7-FB7D241CEF7F}"/>
              </a:ext>
            </a:extLst>
          </p:cNvPr>
          <p:cNvSpPr/>
          <p:nvPr/>
        </p:nvSpPr>
        <p:spPr>
          <a:xfrm>
            <a:off x="5056815" y="4405126"/>
            <a:ext cx="1478997" cy="541226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Ok: Aşağı 7">
            <a:extLst>
              <a:ext uri="{FF2B5EF4-FFF2-40B4-BE49-F238E27FC236}">
                <a16:creationId xmlns:a16="http://schemas.microsoft.com/office/drawing/2014/main" id="{5043BC63-26DB-07CF-EDA1-F84601D51395}"/>
              </a:ext>
            </a:extLst>
          </p:cNvPr>
          <p:cNvSpPr/>
          <p:nvPr/>
        </p:nvSpPr>
        <p:spPr>
          <a:xfrm rot="16200000">
            <a:off x="6650883" y="4324867"/>
            <a:ext cx="484632" cy="463397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3C6DA1-3A68-76FA-213E-4BCD0FE008FC}"/>
              </a:ext>
            </a:extLst>
          </p:cNvPr>
          <p:cNvSpPr txBox="1"/>
          <p:nvPr/>
        </p:nvSpPr>
        <p:spPr>
          <a:xfrm>
            <a:off x="7186707" y="4094900"/>
            <a:ext cx="17731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/>
              <a:t>Soru ve Önerilerinizi bizlere bildirebilirsiniz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981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39">
            <a:extLst>
              <a:ext uri="{FF2B5EF4-FFF2-40B4-BE49-F238E27FC236}">
                <a16:creationId xmlns:a16="http://schemas.microsoft.com/office/drawing/2014/main" id="{1825AC39-5F85-4CAA-8A81-A1287086B2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Freeform: Shape 41">
            <a:extLst>
              <a:ext uri="{FF2B5EF4-FFF2-40B4-BE49-F238E27FC236}">
                <a16:creationId xmlns:a16="http://schemas.microsoft.com/office/drawing/2014/main" id="{95DA4D23-37FC-4B90-8188-F0377C5FF4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0" y="0"/>
            <a:ext cx="4417162" cy="6858000"/>
          </a:xfrm>
          <a:custGeom>
            <a:avLst/>
            <a:gdLst>
              <a:gd name="connsiteX0" fmla="*/ 0 w 4417162"/>
              <a:gd name="connsiteY0" fmla="*/ 0 h 6858000"/>
              <a:gd name="connsiteX1" fmla="*/ 144378 w 4417162"/>
              <a:gd name="connsiteY1" fmla="*/ 0 h 6858000"/>
              <a:gd name="connsiteX2" fmla="*/ 2310062 w 4417162"/>
              <a:gd name="connsiteY2" fmla="*/ 0 h 6858000"/>
              <a:gd name="connsiteX3" fmla="*/ 4227367 w 4417162"/>
              <a:gd name="connsiteY3" fmla="*/ 0 h 6858000"/>
              <a:gd name="connsiteX4" fmla="*/ 4232407 w 4417162"/>
              <a:gd name="connsiteY4" fmla="*/ 66675 h 6858000"/>
              <a:gd name="connsiteX5" fmla="*/ 4240804 w 4417162"/>
              <a:gd name="connsiteY5" fmla="*/ 122237 h 6858000"/>
              <a:gd name="connsiteX6" fmla="*/ 4250882 w 4417162"/>
              <a:gd name="connsiteY6" fmla="*/ 174625 h 6858000"/>
              <a:gd name="connsiteX7" fmla="*/ 4267678 w 4417162"/>
              <a:gd name="connsiteY7" fmla="*/ 217487 h 6858000"/>
              <a:gd name="connsiteX8" fmla="*/ 4284474 w 4417162"/>
              <a:gd name="connsiteY8" fmla="*/ 260350 h 6858000"/>
              <a:gd name="connsiteX9" fmla="*/ 4304629 w 4417162"/>
              <a:gd name="connsiteY9" fmla="*/ 296862 h 6858000"/>
              <a:gd name="connsiteX10" fmla="*/ 4324784 w 4417162"/>
              <a:gd name="connsiteY10" fmla="*/ 334962 h 6858000"/>
              <a:gd name="connsiteX11" fmla="*/ 4343260 w 4417162"/>
              <a:gd name="connsiteY11" fmla="*/ 369887 h 6858000"/>
              <a:gd name="connsiteX12" fmla="*/ 4361735 w 4417162"/>
              <a:gd name="connsiteY12" fmla="*/ 409575 h 6858000"/>
              <a:gd name="connsiteX13" fmla="*/ 4378531 w 4417162"/>
              <a:gd name="connsiteY13" fmla="*/ 450850 h 6858000"/>
              <a:gd name="connsiteX14" fmla="*/ 4393648 w 4417162"/>
              <a:gd name="connsiteY14" fmla="*/ 496887 h 6858000"/>
              <a:gd name="connsiteX15" fmla="*/ 4405405 w 4417162"/>
              <a:gd name="connsiteY15" fmla="*/ 546100 h 6858000"/>
              <a:gd name="connsiteX16" fmla="*/ 4413803 w 4417162"/>
              <a:gd name="connsiteY16" fmla="*/ 606425 h 6858000"/>
              <a:gd name="connsiteX17" fmla="*/ 4417162 w 4417162"/>
              <a:gd name="connsiteY17" fmla="*/ 673100 h 6858000"/>
              <a:gd name="connsiteX18" fmla="*/ 4413803 w 4417162"/>
              <a:gd name="connsiteY18" fmla="*/ 744537 h 6858000"/>
              <a:gd name="connsiteX19" fmla="*/ 4405405 w 4417162"/>
              <a:gd name="connsiteY19" fmla="*/ 801687 h 6858000"/>
              <a:gd name="connsiteX20" fmla="*/ 4393648 w 4417162"/>
              <a:gd name="connsiteY20" fmla="*/ 854075 h 6858000"/>
              <a:gd name="connsiteX21" fmla="*/ 4378531 w 4417162"/>
              <a:gd name="connsiteY21" fmla="*/ 901700 h 6858000"/>
              <a:gd name="connsiteX22" fmla="*/ 4361735 w 4417162"/>
              <a:gd name="connsiteY22" fmla="*/ 942975 h 6858000"/>
              <a:gd name="connsiteX23" fmla="*/ 4341580 w 4417162"/>
              <a:gd name="connsiteY23" fmla="*/ 981075 h 6858000"/>
              <a:gd name="connsiteX24" fmla="*/ 4321425 w 4417162"/>
              <a:gd name="connsiteY24" fmla="*/ 1017587 h 6858000"/>
              <a:gd name="connsiteX25" fmla="*/ 4301270 w 4417162"/>
              <a:gd name="connsiteY25" fmla="*/ 1055687 h 6858000"/>
              <a:gd name="connsiteX26" fmla="*/ 4282794 w 4417162"/>
              <a:gd name="connsiteY26" fmla="*/ 1095375 h 6858000"/>
              <a:gd name="connsiteX27" fmla="*/ 4264318 w 4417162"/>
              <a:gd name="connsiteY27" fmla="*/ 1136650 h 6858000"/>
              <a:gd name="connsiteX28" fmla="*/ 4249203 w 4417162"/>
              <a:gd name="connsiteY28" fmla="*/ 1182687 h 6858000"/>
              <a:gd name="connsiteX29" fmla="*/ 4239125 w 4417162"/>
              <a:gd name="connsiteY29" fmla="*/ 1235075 h 6858000"/>
              <a:gd name="connsiteX30" fmla="*/ 4229047 w 4417162"/>
              <a:gd name="connsiteY30" fmla="*/ 1295400 h 6858000"/>
              <a:gd name="connsiteX31" fmla="*/ 4227367 w 4417162"/>
              <a:gd name="connsiteY31" fmla="*/ 1363662 h 6858000"/>
              <a:gd name="connsiteX32" fmla="*/ 4229047 w 4417162"/>
              <a:gd name="connsiteY32" fmla="*/ 1431925 h 6858000"/>
              <a:gd name="connsiteX33" fmla="*/ 4239125 w 4417162"/>
              <a:gd name="connsiteY33" fmla="*/ 1492250 h 6858000"/>
              <a:gd name="connsiteX34" fmla="*/ 4249203 w 4417162"/>
              <a:gd name="connsiteY34" fmla="*/ 1544637 h 6858000"/>
              <a:gd name="connsiteX35" fmla="*/ 4264318 w 4417162"/>
              <a:gd name="connsiteY35" fmla="*/ 1589087 h 6858000"/>
              <a:gd name="connsiteX36" fmla="*/ 4282794 w 4417162"/>
              <a:gd name="connsiteY36" fmla="*/ 1631950 h 6858000"/>
              <a:gd name="connsiteX37" fmla="*/ 4301270 w 4417162"/>
              <a:gd name="connsiteY37" fmla="*/ 1671637 h 6858000"/>
              <a:gd name="connsiteX38" fmla="*/ 4321425 w 4417162"/>
              <a:gd name="connsiteY38" fmla="*/ 1708150 h 6858000"/>
              <a:gd name="connsiteX39" fmla="*/ 4341580 w 4417162"/>
              <a:gd name="connsiteY39" fmla="*/ 1743075 h 6858000"/>
              <a:gd name="connsiteX40" fmla="*/ 4361735 w 4417162"/>
              <a:gd name="connsiteY40" fmla="*/ 1782762 h 6858000"/>
              <a:gd name="connsiteX41" fmla="*/ 4378531 w 4417162"/>
              <a:gd name="connsiteY41" fmla="*/ 1824037 h 6858000"/>
              <a:gd name="connsiteX42" fmla="*/ 4393648 w 4417162"/>
              <a:gd name="connsiteY42" fmla="*/ 1870075 h 6858000"/>
              <a:gd name="connsiteX43" fmla="*/ 4405405 w 4417162"/>
              <a:gd name="connsiteY43" fmla="*/ 1922462 h 6858000"/>
              <a:gd name="connsiteX44" fmla="*/ 4413803 w 4417162"/>
              <a:gd name="connsiteY44" fmla="*/ 1982787 h 6858000"/>
              <a:gd name="connsiteX45" fmla="*/ 4417162 w 4417162"/>
              <a:gd name="connsiteY45" fmla="*/ 2051050 h 6858000"/>
              <a:gd name="connsiteX46" fmla="*/ 4413803 w 4417162"/>
              <a:gd name="connsiteY46" fmla="*/ 2119312 h 6858000"/>
              <a:gd name="connsiteX47" fmla="*/ 4405405 w 4417162"/>
              <a:gd name="connsiteY47" fmla="*/ 2179637 h 6858000"/>
              <a:gd name="connsiteX48" fmla="*/ 4393648 w 4417162"/>
              <a:gd name="connsiteY48" fmla="*/ 2232025 h 6858000"/>
              <a:gd name="connsiteX49" fmla="*/ 4378531 w 4417162"/>
              <a:gd name="connsiteY49" fmla="*/ 2278062 h 6858000"/>
              <a:gd name="connsiteX50" fmla="*/ 4361735 w 4417162"/>
              <a:gd name="connsiteY50" fmla="*/ 2319337 h 6858000"/>
              <a:gd name="connsiteX51" fmla="*/ 4341580 w 4417162"/>
              <a:gd name="connsiteY51" fmla="*/ 2359025 h 6858000"/>
              <a:gd name="connsiteX52" fmla="*/ 4321425 w 4417162"/>
              <a:gd name="connsiteY52" fmla="*/ 2395537 h 6858000"/>
              <a:gd name="connsiteX53" fmla="*/ 4301270 w 4417162"/>
              <a:gd name="connsiteY53" fmla="*/ 2433637 h 6858000"/>
              <a:gd name="connsiteX54" fmla="*/ 4282794 w 4417162"/>
              <a:gd name="connsiteY54" fmla="*/ 2471737 h 6858000"/>
              <a:gd name="connsiteX55" fmla="*/ 4264318 w 4417162"/>
              <a:gd name="connsiteY55" fmla="*/ 2513012 h 6858000"/>
              <a:gd name="connsiteX56" fmla="*/ 4249203 w 4417162"/>
              <a:gd name="connsiteY56" fmla="*/ 2560637 h 6858000"/>
              <a:gd name="connsiteX57" fmla="*/ 4239125 w 4417162"/>
              <a:gd name="connsiteY57" fmla="*/ 2613025 h 6858000"/>
              <a:gd name="connsiteX58" fmla="*/ 4229047 w 4417162"/>
              <a:gd name="connsiteY58" fmla="*/ 2671762 h 6858000"/>
              <a:gd name="connsiteX59" fmla="*/ 4227367 w 4417162"/>
              <a:gd name="connsiteY59" fmla="*/ 2741612 h 6858000"/>
              <a:gd name="connsiteX60" fmla="*/ 4229047 w 4417162"/>
              <a:gd name="connsiteY60" fmla="*/ 2809875 h 6858000"/>
              <a:gd name="connsiteX61" fmla="*/ 4239125 w 4417162"/>
              <a:gd name="connsiteY61" fmla="*/ 2868612 h 6858000"/>
              <a:gd name="connsiteX62" fmla="*/ 4249203 w 4417162"/>
              <a:gd name="connsiteY62" fmla="*/ 2922587 h 6858000"/>
              <a:gd name="connsiteX63" fmla="*/ 4264318 w 4417162"/>
              <a:gd name="connsiteY63" fmla="*/ 2967037 h 6858000"/>
              <a:gd name="connsiteX64" fmla="*/ 4282794 w 4417162"/>
              <a:gd name="connsiteY64" fmla="*/ 3009900 h 6858000"/>
              <a:gd name="connsiteX65" fmla="*/ 4301270 w 4417162"/>
              <a:gd name="connsiteY65" fmla="*/ 3046412 h 6858000"/>
              <a:gd name="connsiteX66" fmla="*/ 4321425 w 4417162"/>
              <a:gd name="connsiteY66" fmla="*/ 3084512 h 6858000"/>
              <a:gd name="connsiteX67" fmla="*/ 4341580 w 4417162"/>
              <a:gd name="connsiteY67" fmla="*/ 3121025 h 6858000"/>
              <a:gd name="connsiteX68" fmla="*/ 4361735 w 4417162"/>
              <a:gd name="connsiteY68" fmla="*/ 3160712 h 6858000"/>
              <a:gd name="connsiteX69" fmla="*/ 4378531 w 4417162"/>
              <a:gd name="connsiteY69" fmla="*/ 3201987 h 6858000"/>
              <a:gd name="connsiteX70" fmla="*/ 4393648 w 4417162"/>
              <a:gd name="connsiteY70" fmla="*/ 3248025 h 6858000"/>
              <a:gd name="connsiteX71" fmla="*/ 4405405 w 4417162"/>
              <a:gd name="connsiteY71" fmla="*/ 3300412 h 6858000"/>
              <a:gd name="connsiteX72" fmla="*/ 4413803 w 4417162"/>
              <a:gd name="connsiteY72" fmla="*/ 3360737 h 6858000"/>
              <a:gd name="connsiteX73" fmla="*/ 4417162 w 4417162"/>
              <a:gd name="connsiteY73" fmla="*/ 3427412 h 6858000"/>
              <a:gd name="connsiteX74" fmla="*/ 4413803 w 4417162"/>
              <a:gd name="connsiteY74" fmla="*/ 3497262 h 6858000"/>
              <a:gd name="connsiteX75" fmla="*/ 4405405 w 4417162"/>
              <a:gd name="connsiteY75" fmla="*/ 3557587 h 6858000"/>
              <a:gd name="connsiteX76" fmla="*/ 4393648 w 4417162"/>
              <a:gd name="connsiteY76" fmla="*/ 3609975 h 6858000"/>
              <a:gd name="connsiteX77" fmla="*/ 4378531 w 4417162"/>
              <a:gd name="connsiteY77" fmla="*/ 3656012 h 6858000"/>
              <a:gd name="connsiteX78" fmla="*/ 4361735 w 4417162"/>
              <a:gd name="connsiteY78" fmla="*/ 3697287 h 6858000"/>
              <a:gd name="connsiteX79" fmla="*/ 4341580 w 4417162"/>
              <a:gd name="connsiteY79" fmla="*/ 3736975 h 6858000"/>
              <a:gd name="connsiteX80" fmla="*/ 4301270 w 4417162"/>
              <a:gd name="connsiteY80" fmla="*/ 3811587 h 6858000"/>
              <a:gd name="connsiteX81" fmla="*/ 4282794 w 4417162"/>
              <a:gd name="connsiteY81" fmla="*/ 3848100 h 6858000"/>
              <a:gd name="connsiteX82" fmla="*/ 4264318 w 4417162"/>
              <a:gd name="connsiteY82" fmla="*/ 3890962 h 6858000"/>
              <a:gd name="connsiteX83" fmla="*/ 4249203 w 4417162"/>
              <a:gd name="connsiteY83" fmla="*/ 3935412 h 6858000"/>
              <a:gd name="connsiteX84" fmla="*/ 4239125 w 4417162"/>
              <a:gd name="connsiteY84" fmla="*/ 3987800 h 6858000"/>
              <a:gd name="connsiteX85" fmla="*/ 4229047 w 4417162"/>
              <a:gd name="connsiteY85" fmla="*/ 4048125 h 6858000"/>
              <a:gd name="connsiteX86" fmla="*/ 4227367 w 4417162"/>
              <a:gd name="connsiteY86" fmla="*/ 4116387 h 6858000"/>
              <a:gd name="connsiteX87" fmla="*/ 4229047 w 4417162"/>
              <a:gd name="connsiteY87" fmla="*/ 4186237 h 6858000"/>
              <a:gd name="connsiteX88" fmla="*/ 4239125 w 4417162"/>
              <a:gd name="connsiteY88" fmla="*/ 4244975 h 6858000"/>
              <a:gd name="connsiteX89" fmla="*/ 4249203 w 4417162"/>
              <a:gd name="connsiteY89" fmla="*/ 4297362 h 6858000"/>
              <a:gd name="connsiteX90" fmla="*/ 4264318 w 4417162"/>
              <a:gd name="connsiteY90" fmla="*/ 4343400 h 6858000"/>
              <a:gd name="connsiteX91" fmla="*/ 4282794 w 4417162"/>
              <a:gd name="connsiteY91" fmla="*/ 4386262 h 6858000"/>
              <a:gd name="connsiteX92" fmla="*/ 4301270 w 4417162"/>
              <a:gd name="connsiteY92" fmla="*/ 4424362 h 6858000"/>
              <a:gd name="connsiteX93" fmla="*/ 4341580 w 4417162"/>
              <a:gd name="connsiteY93" fmla="*/ 4498975 h 6858000"/>
              <a:gd name="connsiteX94" fmla="*/ 4361735 w 4417162"/>
              <a:gd name="connsiteY94" fmla="*/ 4537075 h 6858000"/>
              <a:gd name="connsiteX95" fmla="*/ 4378531 w 4417162"/>
              <a:gd name="connsiteY95" fmla="*/ 4579937 h 6858000"/>
              <a:gd name="connsiteX96" fmla="*/ 4393648 w 4417162"/>
              <a:gd name="connsiteY96" fmla="*/ 4625975 h 6858000"/>
              <a:gd name="connsiteX97" fmla="*/ 4405405 w 4417162"/>
              <a:gd name="connsiteY97" fmla="*/ 4678362 h 6858000"/>
              <a:gd name="connsiteX98" fmla="*/ 4413803 w 4417162"/>
              <a:gd name="connsiteY98" fmla="*/ 4738687 h 6858000"/>
              <a:gd name="connsiteX99" fmla="*/ 4417162 w 4417162"/>
              <a:gd name="connsiteY99" fmla="*/ 4806950 h 6858000"/>
              <a:gd name="connsiteX100" fmla="*/ 4413803 w 4417162"/>
              <a:gd name="connsiteY100" fmla="*/ 4875212 h 6858000"/>
              <a:gd name="connsiteX101" fmla="*/ 4405405 w 4417162"/>
              <a:gd name="connsiteY101" fmla="*/ 4935537 h 6858000"/>
              <a:gd name="connsiteX102" fmla="*/ 4393648 w 4417162"/>
              <a:gd name="connsiteY102" fmla="*/ 4987925 h 6858000"/>
              <a:gd name="connsiteX103" fmla="*/ 4378531 w 4417162"/>
              <a:gd name="connsiteY103" fmla="*/ 5033962 h 6858000"/>
              <a:gd name="connsiteX104" fmla="*/ 4361735 w 4417162"/>
              <a:gd name="connsiteY104" fmla="*/ 5075237 h 6858000"/>
              <a:gd name="connsiteX105" fmla="*/ 4341580 w 4417162"/>
              <a:gd name="connsiteY105" fmla="*/ 5114925 h 6858000"/>
              <a:gd name="connsiteX106" fmla="*/ 4321425 w 4417162"/>
              <a:gd name="connsiteY106" fmla="*/ 5149850 h 6858000"/>
              <a:gd name="connsiteX107" fmla="*/ 4301270 w 4417162"/>
              <a:gd name="connsiteY107" fmla="*/ 5186362 h 6858000"/>
              <a:gd name="connsiteX108" fmla="*/ 4282794 w 4417162"/>
              <a:gd name="connsiteY108" fmla="*/ 5226050 h 6858000"/>
              <a:gd name="connsiteX109" fmla="*/ 4264318 w 4417162"/>
              <a:gd name="connsiteY109" fmla="*/ 5268912 h 6858000"/>
              <a:gd name="connsiteX110" fmla="*/ 4249203 w 4417162"/>
              <a:gd name="connsiteY110" fmla="*/ 5313362 h 6858000"/>
              <a:gd name="connsiteX111" fmla="*/ 4239125 w 4417162"/>
              <a:gd name="connsiteY111" fmla="*/ 5365750 h 6858000"/>
              <a:gd name="connsiteX112" fmla="*/ 4229047 w 4417162"/>
              <a:gd name="connsiteY112" fmla="*/ 5426075 h 6858000"/>
              <a:gd name="connsiteX113" fmla="*/ 4227367 w 4417162"/>
              <a:gd name="connsiteY113" fmla="*/ 5494337 h 6858000"/>
              <a:gd name="connsiteX114" fmla="*/ 4229047 w 4417162"/>
              <a:gd name="connsiteY114" fmla="*/ 5562600 h 6858000"/>
              <a:gd name="connsiteX115" fmla="*/ 4239125 w 4417162"/>
              <a:gd name="connsiteY115" fmla="*/ 5622925 h 6858000"/>
              <a:gd name="connsiteX116" fmla="*/ 4249203 w 4417162"/>
              <a:gd name="connsiteY116" fmla="*/ 5675312 h 6858000"/>
              <a:gd name="connsiteX117" fmla="*/ 4264318 w 4417162"/>
              <a:gd name="connsiteY117" fmla="*/ 5721350 h 6858000"/>
              <a:gd name="connsiteX118" fmla="*/ 4282794 w 4417162"/>
              <a:gd name="connsiteY118" fmla="*/ 5762625 h 6858000"/>
              <a:gd name="connsiteX119" fmla="*/ 4301270 w 4417162"/>
              <a:gd name="connsiteY119" fmla="*/ 5802312 h 6858000"/>
              <a:gd name="connsiteX120" fmla="*/ 4321425 w 4417162"/>
              <a:gd name="connsiteY120" fmla="*/ 5840412 h 6858000"/>
              <a:gd name="connsiteX121" fmla="*/ 4341580 w 4417162"/>
              <a:gd name="connsiteY121" fmla="*/ 5876925 h 6858000"/>
              <a:gd name="connsiteX122" fmla="*/ 4361735 w 4417162"/>
              <a:gd name="connsiteY122" fmla="*/ 5915025 h 6858000"/>
              <a:gd name="connsiteX123" fmla="*/ 4378531 w 4417162"/>
              <a:gd name="connsiteY123" fmla="*/ 5956300 h 6858000"/>
              <a:gd name="connsiteX124" fmla="*/ 4393648 w 4417162"/>
              <a:gd name="connsiteY124" fmla="*/ 6003925 h 6858000"/>
              <a:gd name="connsiteX125" fmla="*/ 4405405 w 4417162"/>
              <a:gd name="connsiteY125" fmla="*/ 6056312 h 6858000"/>
              <a:gd name="connsiteX126" fmla="*/ 4413803 w 4417162"/>
              <a:gd name="connsiteY126" fmla="*/ 6113462 h 6858000"/>
              <a:gd name="connsiteX127" fmla="*/ 4417162 w 4417162"/>
              <a:gd name="connsiteY127" fmla="*/ 6183312 h 6858000"/>
              <a:gd name="connsiteX128" fmla="*/ 4413803 w 4417162"/>
              <a:gd name="connsiteY128" fmla="*/ 6251575 h 6858000"/>
              <a:gd name="connsiteX129" fmla="*/ 4405405 w 4417162"/>
              <a:gd name="connsiteY129" fmla="*/ 6311900 h 6858000"/>
              <a:gd name="connsiteX130" fmla="*/ 4393648 w 4417162"/>
              <a:gd name="connsiteY130" fmla="*/ 6361112 h 6858000"/>
              <a:gd name="connsiteX131" fmla="*/ 4378531 w 4417162"/>
              <a:gd name="connsiteY131" fmla="*/ 6407150 h 6858000"/>
              <a:gd name="connsiteX132" fmla="*/ 4361735 w 4417162"/>
              <a:gd name="connsiteY132" fmla="*/ 6448425 h 6858000"/>
              <a:gd name="connsiteX133" fmla="*/ 4343260 w 4417162"/>
              <a:gd name="connsiteY133" fmla="*/ 6488112 h 6858000"/>
              <a:gd name="connsiteX134" fmla="*/ 4324784 w 4417162"/>
              <a:gd name="connsiteY134" fmla="*/ 6523037 h 6858000"/>
              <a:gd name="connsiteX135" fmla="*/ 4304629 w 4417162"/>
              <a:gd name="connsiteY135" fmla="*/ 6561137 h 6858000"/>
              <a:gd name="connsiteX136" fmla="*/ 4284474 w 4417162"/>
              <a:gd name="connsiteY136" fmla="*/ 6597650 h 6858000"/>
              <a:gd name="connsiteX137" fmla="*/ 4267678 w 4417162"/>
              <a:gd name="connsiteY137" fmla="*/ 6640512 h 6858000"/>
              <a:gd name="connsiteX138" fmla="*/ 4250882 w 4417162"/>
              <a:gd name="connsiteY138" fmla="*/ 6683375 h 6858000"/>
              <a:gd name="connsiteX139" fmla="*/ 4240804 w 4417162"/>
              <a:gd name="connsiteY139" fmla="*/ 6735762 h 6858000"/>
              <a:gd name="connsiteX140" fmla="*/ 4232407 w 4417162"/>
              <a:gd name="connsiteY140" fmla="*/ 6791325 h 6858000"/>
              <a:gd name="connsiteX141" fmla="*/ 4227367 w 4417162"/>
              <a:gd name="connsiteY141" fmla="*/ 6858000 h 6858000"/>
              <a:gd name="connsiteX142" fmla="*/ 2310062 w 4417162"/>
              <a:gd name="connsiteY142" fmla="*/ 6858000 h 6858000"/>
              <a:gd name="connsiteX143" fmla="*/ 144378 w 4417162"/>
              <a:gd name="connsiteY143" fmla="*/ 6858000 h 6858000"/>
              <a:gd name="connsiteX144" fmla="*/ 0 w 4417162"/>
              <a:gd name="connsiteY14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4417162" h="6858000">
                <a:moveTo>
                  <a:pt x="0" y="0"/>
                </a:moveTo>
                <a:lnTo>
                  <a:pt x="144378" y="0"/>
                </a:lnTo>
                <a:lnTo>
                  <a:pt x="2310062" y="0"/>
                </a:lnTo>
                <a:lnTo>
                  <a:pt x="4227367" y="0"/>
                </a:lnTo>
                <a:lnTo>
                  <a:pt x="4232407" y="66675"/>
                </a:lnTo>
                <a:lnTo>
                  <a:pt x="4240804" y="122237"/>
                </a:lnTo>
                <a:lnTo>
                  <a:pt x="4250882" y="174625"/>
                </a:lnTo>
                <a:lnTo>
                  <a:pt x="4267678" y="217487"/>
                </a:lnTo>
                <a:lnTo>
                  <a:pt x="4284474" y="260350"/>
                </a:lnTo>
                <a:lnTo>
                  <a:pt x="4304629" y="296862"/>
                </a:lnTo>
                <a:lnTo>
                  <a:pt x="4324784" y="334962"/>
                </a:lnTo>
                <a:lnTo>
                  <a:pt x="4343260" y="369887"/>
                </a:lnTo>
                <a:lnTo>
                  <a:pt x="4361735" y="409575"/>
                </a:lnTo>
                <a:lnTo>
                  <a:pt x="4378531" y="450850"/>
                </a:lnTo>
                <a:lnTo>
                  <a:pt x="4393648" y="496887"/>
                </a:lnTo>
                <a:lnTo>
                  <a:pt x="4405405" y="546100"/>
                </a:lnTo>
                <a:lnTo>
                  <a:pt x="4413803" y="606425"/>
                </a:lnTo>
                <a:lnTo>
                  <a:pt x="4417162" y="673100"/>
                </a:lnTo>
                <a:lnTo>
                  <a:pt x="4413803" y="744537"/>
                </a:lnTo>
                <a:lnTo>
                  <a:pt x="4405405" y="801687"/>
                </a:lnTo>
                <a:lnTo>
                  <a:pt x="4393648" y="854075"/>
                </a:lnTo>
                <a:lnTo>
                  <a:pt x="4378531" y="901700"/>
                </a:lnTo>
                <a:lnTo>
                  <a:pt x="4361735" y="942975"/>
                </a:lnTo>
                <a:lnTo>
                  <a:pt x="4341580" y="981075"/>
                </a:lnTo>
                <a:lnTo>
                  <a:pt x="4321425" y="1017587"/>
                </a:lnTo>
                <a:lnTo>
                  <a:pt x="4301270" y="1055687"/>
                </a:lnTo>
                <a:lnTo>
                  <a:pt x="4282794" y="1095375"/>
                </a:lnTo>
                <a:lnTo>
                  <a:pt x="4264318" y="1136650"/>
                </a:lnTo>
                <a:lnTo>
                  <a:pt x="4249203" y="1182687"/>
                </a:lnTo>
                <a:lnTo>
                  <a:pt x="4239125" y="1235075"/>
                </a:lnTo>
                <a:lnTo>
                  <a:pt x="4229047" y="1295400"/>
                </a:lnTo>
                <a:lnTo>
                  <a:pt x="4227367" y="1363662"/>
                </a:lnTo>
                <a:lnTo>
                  <a:pt x="4229047" y="1431925"/>
                </a:lnTo>
                <a:lnTo>
                  <a:pt x="4239125" y="1492250"/>
                </a:lnTo>
                <a:lnTo>
                  <a:pt x="4249203" y="1544637"/>
                </a:lnTo>
                <a:lnTo>
                  <a:pt x="4264318" y="1589087"/>
                </a:lnTo>
                <a:lnTo>
                  <a:pt x="4282794" y="1631950"/>
                </a:lnTo>
                <a:lnTo>
                  <a:pt x="4301270" y="1671637"/>
                </a:lnTo>
                <a:lnTo>
                  <a:pt x="4321425" y="1708150"/>
                </a:lnTo>
                <a:lnTo>
                  <a:pt x="4341580" y="1743075"/>
                </a:lnTo>
                <a:lnTo>
                  <a:pt x="4361735" y="1782762"/>
                </a:lnTo>
                <a:lnTo>
                  <a:pt x="4378531" y="1824037"/>
                </a:lnTo>
                <a:lnTo>
                  <a:pt x="4393648" y="1870075"/>
                </a:lnTo>
                <a:lnTo>
                  <a:pt x="4405405" y="1922462"/>
                </a:lnTo>
                <a:lnTo>
                  <a:pt x="4413803" y="1982787"/>
                </a:lnTo>
                <a:lnTo>
                  <a:pt x="4417162" y="2051050"/>
                </a:lnTo>
                <a:lnTo>
                  <a:pt x="4413803" y="2119312"/>
                </a:lnTo>
                <a:lnTo>
                  <a:pt x="4405405" y="2179637"/>
                </a:lnTo>
                <a:lnTo>
                  <a:pt x="4393648" y="2232025"/>
                </a:lnTo>
                <a:lnTo>
                  <a:pt x="4378531" y="2278062"/>
                </a:lnTo>
                <a:lnTo>
                  <a:pt x="4361735" y="2319337"/>
                </a:lnTo>
                <a:lnTo>
                  <a:pt x="4341580" y="2359025"/>
                </a:lnTo>
                <a:lnTo>
                  <a:pt x="4321425" y="2395537"/>
                </a:lnTo>
                <a:lnTo>
                  <a:pt x="4301270" y="2433637"/>
                </a:lnTo>
                <a:lnTo>
                  <a:pt x="4282794" y="2471737"/>
                </a:lnTo>
                <a:lnTo>
                  <a:pt x="4264318" y="2513012"/>
                </a:lnTo>
                <a:lnTo>
                  <a:pt x="4249203" y="2560637"/>
                </a:lnTo>
                <a:lnTo>
                  <a:pt x="4239125" y="2613025"/>
                </a:lnTo>
                <a:lnTo>
                  <a:pt x="4229047" y="2671762"/>
                </a:lnTo>
                <a:lnTo>
                  <a:pt x="4227367" y="2741612"/>
                </a:lnTo>
                <a:lnTo>
                  <a:pt x="4229047" y="2809875"/>
                </a:lnTo>
                <a:lnTo>
                  <a:pt x="4239125" y="2868612"/>
                </a:lnTo>
                <a:lnTo>
                  <a:pt x="4249203" y="2922587"/>
                </a:lnTo>
                <a:lnTo>
                  <a:pt x="4264318" y="2967037"/>
                </a:lnTo>
                <a:lnTo>
                  <a:pt x="4282794" y="3009900"/>
                </a:lnTo>
                <a:lnTo>
                  <a:pt x="4301270" y="3046412"/>
                </a:lnTo>
                <a:lnTo>
                  <a:pt x="4321425" y="3084512"/>
                </a:lnTo>
                <a:lnTo>
                  <a:pt x="4341580" y="3121025"/>
                </a:lnTo>
                <a:lnTo>
                  <a:pt x="4361735" y="3160712"/>
                </a:lnTo>
                <a:lnTo>
                  <a:pt x="4378531" y="3201987"/>
                </a:lnTo>
                <a:lnTo>
                  <a:pt x="4393648" y="3248025"/>
                </a:lnTo>
                <a:lnTo>
                  <a:pt x="4405405" y="3300412"/>
                </a:lnTo>
                <a:lnTo>
                  <a:pt x="4413803" y="3360737"/>
                </a:lnTo>
                <a:lnTo>
                  <a:pt x="4417162" y="3427412"/>
                </a:lnTo>
                <a:lnTo>
                  <a:pt x="4413803" y="3497262"/>
                </a:lnTo>
                <a:lnTo>
                  <a:pt x="4405405" y="3557587"/>
                </a:lnTo>
                <a:lnTo>
                  <a:pt x="4393648" y="3609975"/>
                </a:lnTo>
                <a:lnTo>
                  <a:pt x="4378531" y="3656012"/>
                </a:lnTo>
                <a:lnTo>
                  <a:pt x="4361735" y="3697287"/>
                </a:lnTo>
                <a:lnTo>
                  <a:pt x="4341580" y="3736975"/>
                </a:lnTo>
                <a:lnTo>
                  <a:pt x="4301270" y="3811587"/>
                </a:lnTo>
                <a:lnTo>
                  <a:pt x="4282794" y="3848100"/>
                </a:lnTo>
                <a:lnTo>
                  <a:pt x="4264318" y="3890962"/>
                </a:lnTo>
                <a:lnTo>
                  <a:pt x="4249203" y="3935412"/>
                </a:lnTo>
                <a:lnTo>
                  <a:pt x="4239125" y="3987800"/>
                </a:lnTo>
                <a:lnTo>
                  <a:pt x="4229047" y="4048125"/>
                </a:lnTo>
                <a:lnTo>
                  <a:pt x="4227367" y="4116387"/>
                </a:lnTo>
                <a:lnTo>
                  <a:pt x="4229047" y="4186237"/>
                </a:lnTo>
                <a:lnTo>
                  <a:pt x="4239125" y="4244975"/>
                </a:lnTo>
                <a:lnTo>
                  <a:pt x="4249203" y="4297362"/>
                </a:lnTo>
                <a:lnTo>
                  <a:pt x="4264318" y="4343400"/>
                </a:lnTo>
                <a:lnTo>
                  <a:pt x="4282794" y="4386262"/>
                </a:lnTo>
                <a:lnTo>
                  <a:pt x="4301270" y="4424362"/>
                </a:lnTo>
                <a:lnTo>
                  <a:pt x="4341580" y="4498975"/>
                </a:lnTo>
                <a:lnTo>
                  <a:pt x="4361735" y="4537075"/>
                </a:lnTo>
                <a:lnTo>
                  <a:pt x="4378531" y="4579937"/>
                </a:lnTo>
                <a:lnTo>
                  <a:pt x="4393648" y="4625975"/>
                </a:lnTo>
                <a:lnTo>
                  <a:pt x="4405405" y="4678362"/>
                </a:lnTo>
                <a:lnTo>
                  <a:pt x="4413803" y="4738687"/>
                </a:lnTo>
                <a:lnTo>
                  <a:pt x="4417162" y="4806950"/>
                </a:lnTo>
                <a:lnTo>
                  <a:pt x="4413803" y="4875212"/>
                </a:lnTo>
                <a:lnTo>
                  <a:pt x="4405405" y="4935537"/>
                </a:lnTo>
                <a:lnTo>
                  <a:pt x="4393648" y="4987925"/>
                </a:lnTo>
                <a:lnTo>
                  <a:pt x="4378531" y="5033962"/>
                </a:lnTo>
                <a:lnTo>
                  <a:pt x="4361735" y="5075237"/>
                </a:lnTo>
                <a:lnTo>
                  <a:pt x="4341580" y="5114925"/>
                </a:lnTo>
                <a:lnTo>
                  <a:pt x="4321425" y="5149850"/>
                </a:lnTo>
                <a:lnTo>
                  <a:pt x="4301270" y="5186362"/>
                </a:lnTo>
                <a:lnTo>
                  <a:pt x="4282794" y="5226050"/>
                </a:lnTo>
                <a:lnTo>
                  <a:pt x="4264318" y="5268912"/>
                </a:lnTo>
                <a:lnTo>
                  <a:pt x="4249203" y="5313362"/>
                </a:lnTo>
                <a:lnTo>
                  <a:pt x="4239125" y="5365750"/>
                </a:lnTo>
                <a:lnTo>
                  <a:pt x="4229047" y="5426075"/>
                </a:lnTo>
                <a:lnTo>
                  <a:pt x="4227367" y="5494337"/>
                </a:lnTo>
                <a:lnTo>
                  <a:pt x="4229047" y="5562600"/>
                </a:lnTo>
                <a:lnTo>
                  <a:pt x="4239125" y="5622925"/>
                </a:lnTo>
                <a:lnTo>
                  <a:pt x="4249203" y="5675312"/>
                </a:lnTo>
                <a:lnTo>
                  <a:pt x="4264318" y="5721350"/>
                </a:lnTo>
                <a:lnTo>
                  <a:pt x="4282794" y="5762625"/>
                </a:lnTo>
                <a:lnTo>
                  <a:pt x="4301270" y="5802312"/>
                </a:lnTo>
                <a:lnTo>
                  <a:pt x="4321425" y="5840412"/>
                </a:lnTo>
                <a:lnTo>
                  <a:pt x="4341580" y="5876925"/>
                </a:lnTo>
                <a:lnTo>
                  <a:pt x="4361735" y="5915025"/>
                </a:lnTo>
                <a:lnTo>
                  <a:pt x="4378531" y="5956300"/>
                </a:lnTo>
                <a:lnTo>
                  <a:pt x="4393648" y="6003925"/>
                </a:lnTo>
                <a:lnTo>
                  <a:pt x="4405405" y="6056312"/>
                </a:lnTo>
                <a:lnTo>
                  <a:pt x="4413803" y="6113462"/>
                </a:lnTo>
                <a:lnTo>
                  <a:pt x="4417162" y="6183312"/>
                </a:lnTo>
                <a:lnTo>
                  <a:pt x="4413803" y="6251575"/>
                </a:lnTo>
                <a:lnTo>
                  <a:pt x="4405405" y="6311900"/>
                </a:lnTo>
                <a:lnTo>
                  <a:pt x="4393648" y="6361112"/>
                </a:lnTo>
                <a:lnTo>
                  <a:pt x="4378531" y="6407150"/>
                </a:lnTo>
                <a:lnTo>
                  <a:pt x="4361735" y="6448425"/>
                </a:lnTo>
                <a:lnTo>
                  <a:pt x="4343260" y="6488112"/>
                </a:lnTo>
                <a:lnTo>
                  <a:pt x="4324784" y="6523037"/>
                </a:lnTo>
                <a:lnTo>
                  <a:pt x="4304629" y="6561137"/>
                </a:lnTo>
                <a:lnTo>
                  <a:pt x="4284474" y="6597650"/>
                </a:lnTo>
                <a:lnTo>
                  <a:pt x="4267678" y="6640512"/>
                </a:lnTo>
                <a:lnTo>
                  <a:pt x="4250882" y="6683375"/>
                </a:lnTo>
                <a:lnTo>
                  <a:pt x="4240804" y="6735762"/>
                </a:lnTo>
                <a:lnTo>
                  <a:pt x="4232407" y="6791325"/>
                </a:lnTo>
                <a:lnTo>
                  <a:pt x="4227367" y="6858000"/>
                </a:lnTo>
                <a:lnTo>
                  <a:pt x="2310062" y="6858000"/>
                </a:lnTo>
                <a:lnTo>
                  <a:pt x="14437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</p:sp>
      <p:sp useBgFill="1">
        <p:nvSpPr>
          <p:cNvPr id="50" name="Freeform: Shape 43">
            <a:extLst>
              <a:ext uri="{FF2B5EF4-FFF2-40B4-BE49-F238E27FC236}">
                <a16:creationId xmlns:a16="http://schemas.microsoft.com/office/drawing/2014/main" id="{A7A4B465-FBCC-4CD4-89A1-82992A7B47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0" y="0"/>
            <a:ext cx="4272784" cy="6858000"/>
          </a:xfrm>
          <a:custGeom>
            <a:avLst/>
            <a:gdLst>
              <a:gd name="connsiteX0" fmla="*/ 0 w 4272784"/>
              <a:gd name="connsiteY0" fmla="*/ 0 h 6858000"/>
              <a:gd name="connsiteX1" fmla="*/ 4082989 w 4272784"/>
              <a:gd name="connsiteY1" fmla="*/ 0 h 6858000"/>
              <a:gd name="connsiteX2" fmla="*/ 4088029 w 4272784"/>
              <a:gd name="connsiteY2" fmla="*/ 66675 h 6858000"/>
              <a:gd name="connsiteX3" fmla="*/ 4096426 w 4272784"/>
              <a:gd name="connsiteY3" fmla="*/ 122237 h 6858000"/>
              <a:gd name="connsiteX4" fmla="*/ 4106504 w 4272784"/>
              <a:gd name="connsiteY4" fmla="*/ 174625 h 6858000"/>
              <a:gd name="connsiteX5" fmla="*/ 4123300 w 4272784"/>
              <a:gd name="connsiteY5" fmla="*/ 217487 h 6858000"/>
              <a:gd name="connsiteX6" fmla="*/ 4140096 w 4272784"/>
              <a:gd name="connsiteY6" fmla="*/ 260350 h 6858000"/>
              <a:gd name="connsiteX7" fmla="*/ 4160251 w 4272784"/>
              <a:gd name="connsiteY7" fmla="*/ 296862 h 6858000"/>
              <a:gd name="connsiteX8" fmla="*/ 4180406 w 4272784"/>
              <a:gd name="connsiteY8" fmla="*/ 334962 h 6858000"/>
              <a:gd name="connsiteX9" fmla="*/ 4198882 w 4272784"/>
              <a:gd name="connsiteY9" fmla="*/ 369887 h 6858000"/>
              <a:gd name="connsiteX10" fmla="*/ 4217357 w 4272784"/>
              <a:gd name="connsiteY10" fmla="*/ 409575 h 6858000"/>
              <a:gd name="connsiteX11" fmla="*/ 4234153 w 4272784"/>
              <a:gd name="connsiteY11" fmla="*/ 450850 h 6858000"/>
              <a:gd name="connsiteX12" fmla="*/ 4249270 w 4272784"/>
              <a:gd name="connsiteY12" fmla="*/ 496887 h 6858000"/>
              <a:gd name="connsiteX13" fmla="*/ 4261027 w 4272784"/>
              <a:gd name="connsiteY13" fmla="*/ 546100 h 6858000"/>
              <a:gd name="connsiteX14" fmla="*/ 4269425 w 4272784"/>
              <a:gd name="connsiteY14" fmla="*/ 606425 h 6858000"/>
              <a:gd name="connsiteX15" fmla="*/ 4272784 w 4272784"/>
              <a:gd name="connsiteY15" fmla="*/ 673100 h 6858000"/>
              <a:gd name="connsiteX16" fmla="*/ 4269425 w 4272784"/>
              <a:gd name="connsiteY16" fmla="*/ 744537 h 6858000"/>
              <a:gd name="connsiteX17" fmla="*/ 4261027 w 4272784"/>
              <a:gd name="connsiteY17" fmla="*/ 801687 h 6858000"/>
              <a:gd name="connsiteX18" fmla="*/ 4249270 w 4272784"/>
              <a:gd name="connsiteY18" fmla="*/ 854075 h 6858000"/>
              <a:gd name="connsiteX19" fmla="*/ 4234153 w 4272784"/>
              <a:gd name="connsiteY19" fmla="*/ 901700 h 6858000"/>
              <a:gd name="connsiteX20" fmla="*/ 4217357 w 4272784"/>
              <a:gd name="connsiteY20" fmla="*/ 942975 h 6858000"/>
              <a:gd name="connsiteX21" fmla="*/ 4197202 w 4272784"/>
              <a:gd name="connsiteY21" fmla="*/ 981075 h 6858000"/>
              <a:gd name="connsiteX22" fmla="*/ 4177047 w 4272784"/>
              <a:gd name="connsiteY22" fmla="*/ 1017587 h 6858000"/>
              <a:gd name="connsiteX23" fmla="*/ 4156892 w 4272784"/>
              <a:gd name="connsiteY23" fmla="*/ 1055687 h 6858000"/>
              <a:gd name="connsiteX24" fmla="*/ 4138416 w 4272784"/>
              <a:gd name="connsiteY24" fmla="*/ 1095375 h 6858000"/>
              <a:gd name="connsiteX25" fmla="*/ 4119940 w 4272784"/>
              <a:gd name="connsiteY25" fmla="*/ 1136650 h 6858000"/>
              <a:gd name="connsiteX26" fmla="*/ 4104825 w 4272784"/>
              <a:gd name="connsiteY26" fmla="*/ 1182687 h 6858000"/>
              <a:gd name="connsiteX27" fmla="*/ 4094747 w 4272784"/>
              <a:gd name="connsiteY27" fmla="*/ 1235075 h 6858000"/>
              <a:gd name="connsiteX28" fmla="*/ 4084669 w 4272784"/>
              <a:gd name="connsiteY28" fmla="*/ 1295400 h 6858000"/>
              <a:gd name="connsiteX29" fmla="*/ 4082989 w 4272784"/>
              <a:gd name="connsiteY29" fmla="*/ 1363662 h 6858000"/>
              <a:gd name="connsiteX30" fmla="*/ 4084669 w 4272784"/>
              <a:gd name="connsiteY30" fmla="*/ 1431925 h 6858000"/>
              <a:gd name="connsiteX31" fmla="*/ 4094747 w 4272784"/>
              <a:gd name="connsiteY31" fmla="*/ 1492250 h 6858000"/>
              <a:gd name="connsiteX32" fmla="*/ 4104825 w 4272784"/>
              <a:gd name="connsiteY32" fmla="*/ 1544637 h 6858000"/>
              <a:gd name="connsiteX33" fmla="*/ 4119940 w 4272784"/>
              <a:gd name="connsiteY33" fmla="*/ 1589087 h 6858000"/>
              <a:gd name="connsiteX34" fmla="*/ 4138416 w 4272784"/>
              <a:gd name="connsiteY34" fmla="*/ 1631950 h 6858000"/>
              <a:gd name="connsiteX35" fmla="*/ 4156892 w 4272784"/>
              <a:gd name="connsiteY35" fmla="*/ 1671637 h 6858000"/>
              <a:gd name="connsiteX36" fmla="*/ 4177047 w 4272784"/>
              <a:gd name="connsiteY36" fmla="*/ 1708150 h 6858000"/>
              <a:gd name="connsiteX37" fmla="*/ 4197202 w 4272784"/>
              <a:gd name="connsiteY37" fmla="*/ 1743075 h 6858000"/>
              <a:gd name="connsiteX38" fmla="*/ 4217357 w 4272784"/>
              <a:gd name="connsiteY38" fmla="*/ 1782762 h 6858000"/>
              <a:gd name="connsiteX39" fmla="*/ 4234153 w 4272784"/>
              <a:gd name="connsiteY39" fmla="*/ 1824037 h 6858000"/>
              <a:gd name="connsiteX40" fmla="*/ 4249270 w 4272784"/>
              <a:gd name="connsiteY40" fmla="*/ 1870075 h 6858000"/>
              <a:gd name="connsiteX41" fmla="*/ 4261027 w 4272784"/>
              <a:gd name="connsiteY41" fmla="*/ 1922462 h 6858000"/>
              <a:gd name="connsiteX42" fmla="*/ 4269425 w 4272784"/>
              <a:gd name="connsiteY42" fmla="*/ 1982787 h 6858000"/>
              <a:gd name="connsiteX43" fmla="*/ 4272784 w 4272784"/>
              <a:gd name="connsiteY43" fmla="*/ 2051050 h 6858000"/>
              <a:gd name="connsiteX44" fmla="*/ 4269425 w 4272784"/>
              <a:gd name="connsiteY44" fmla="*/ 2119312 h 6858000"/>
              <a:gd name="connsiteX45" fmla="*/ 4261027 w 4272784"/>
              <a:gd name="connsiteY45" fmla="*/ 2179637 h 6858000"/>
              <a:gd name="connsiteX46" fmla="*/ 4249270 w 4272784"/>
              <a:gd name="connsiteY46" fmla="*/ 2232025 h 6858000"/>
              <a:gd name="connsiteX47" fmla="*/ 4234153 w 4272784"/>
              <a:gd name="connsiteY47" fmla="*/ 2278062 h 6858000"/>
              <a:gd name="connsiteX48" fmla="*/ 4217357 w 4272784"/>
              <a:gd name="connsiteY48" fmla="*/ 2319337 h 6858000"/>
              <a:gd name="connsiteX49" fmla="*/ 4197202 w 4272784"/>
              <a:gd name="connsiteY49" fmla="*/ 2359025 h 6858000"/>
              <a:gd name="connsiteX50" fmla="*/ 4177047 w 4272784"/>
              <a:gd name="connsiteY50" fmla="*/ 2395537 h 6858000"/>
              <a:gd name="connsiteX51" fmla="*/ 4156892 w 4272784"/>
              <a:gd name="connsiteY51" fmla="*/ 2433637 h 6858000"/>
              <a:gd name="connsiteX52" fmla="*/ 4138416 w 4272784"/>
              <a:gd name="connsiteY52" fmla="*/ 2471737 h 6858000"/>
              <a:gd name="connsiteX53" fmla="*/ 4119940 w 4272784"/>
              <a:gd name="connsiteY53" fmla="*/ 2513012 h 6858000"/>
              <a:gd name="connsiteX54" fmla="*/ 4104825 w 4272784"/>
              <a:gd name="connsiteY54" fmla="*/ 2560637 h 6858000"/>
              <a:gd name="connsiteX55" fmla="*/ 4094747 w 4272784"/>
              <a:gd name="connsiteY55" fmla="*/ 2613025 h 6858000"/>
              <a:gd name="connsiteX56" fmla="*/ 4084669 w 4272784"/>
              <a:gd name="connsiteY56" fmla="*/ 2671762 h 6858000"/>
              <a:gd name="connsiteX57" fmla="*/ 4082989 w 4272784"/>
              <a:gd name="connsiteY57" fmla="*/ 2741612 h 6858000"/>
              <a:gd name="connsiteX58" fmla="*/ 4084669 w 4272784"/>
              <a:gd name="connsiteY58" fmla="*/ 2809875 h 6858000"/>
              <a:gd name="connsiteX59" fmla="*/ 4094747 w 4272784"/>
              <a:gd name="connsiteY59" fmla="*/ 2868612 h 6858000"/>
              <a:gd name="connsiteX60" fmla="*/ 4104825 w 4272784"/>
              <a:gd name="connsiteY60" fmla="*/ 2922587 h 6858000"/>
              <a:gd name="connsiteX61" fmla="*/ 4119940 w 4272784"/>
              <a:gd name="connsiteY61" fmla="*/ 2967037 h 6858000"/>
              <a:gd name="connsiteX62" fmla="*/ 4138416 w 4272784"/>
              <a:gd name="connsiteY62" fmla="*/ 3009900 h 6858000"/>
              <a:gd name="connsiteX63" fmla="*/ 4156892 w 4272784"/>
              <a:gd name="connsiteY63" fmla="*/ 3046412 h 6858000"/>
              <a:gd name="connsiteX64" fmla="*/ 4177047 w 4272784"/>
              <a:gd name="connsiteY64" fmla="*/ 3084512 h 6858000"/>
              <a:gd name="connsiteX65" fmla="*/ 4197202 w 4272784"/>
              <a:gd name="connsiteY65" fmla="*/ 3121025 h 6858000"/>
              <a:gd name="connsiteX66" fmla="*/ 4217357 w 4272784"/>
              <a:gd name="connsiteY66" fmla="*/ 3160712 h 6858000"/>
              <a:gd name="connsiteX67" fmla="*/ 4234153 w 4272784"/>
              <a:gd name="connsiteY67" fmla="*/ 3201987 h 6858000"/>
              <a:gd name="connsiteX68" fmla="*/ 4249270 w 4272784"/>
              <a:gd name="connsiteY68" fmla="*/ 3248025 h 6858000"/>
              <a:gd name="connsiteX69" fmla="*/ 4261027 w 4272784"/>
              <a:gd name="connsiteY69" fmla="*/ 3300412 h 6858000"/>
              <a:gd name="connsiteX70" fmla="*/ 4269425 w 4272784"/>
              <a:gd name="connsiteY70" fmla="*/ 3360737 h 6858000"/>
              <a:gd name="connsiteX71" fmla="*/ 4272784 w 4272784"/>
              <a:gd name="connsiteY71" fmla="*/ 3427412 h 6858000"/>
              <a:gd name="connsiteX72" fmla="*/ 4269425 w 4272784"/>
              <a:gd name="connsiteY72" fmla="*/ 3497262 h 6858000"/>
              <a:gd name="connsiteX73" fmla="*/ 4261027 w 4272784"/>
              <a:gd name="connsiteY73" fmla="*/ 3557587 h 6858000"/>
              <a:gd name="connsiteX74" fmla="*/ 4249270 w 4272784"/>
              <a:gd name="connsiteY74" fmla="*/ 3609975 h 6858000"/>
              <a:gd name="connsiteX75" fmla="*/ 4234153 w 4272784"/>
              <a:gd name="connsiteY75" fmla="*/ 3656012 h 6858000"/>
              <a:gd name="connsiteX76" fmla="*/ 4217357 w 4272784"/>
              <a:gd name="connsiteY76" fmla="*/ 3697287 h 6858000"/>
              <a:gd name="connsiteX77" fmla="*/ 4197202 w 4272784"/>
              <a:gd name="connsiteY77" fmla="*/ 3736975 h 6858000"/>
              <a:gd name="connsiteX78" fmla="*/ 4156892 w 4272784"/>
              <a:gd name="connsiteY78" fmla="*/ 3811587 h 6858000"/>
              <a:gd name="connsiteX79" fmla="*/ 4138416 w 4272784"/>
              <a:gd name="connsiteY79" fmla="*/ 3848100 h 6858000"/>
              <a:gd name="connsiteX80" fmla="*/ 4119940 w 4272784"/>
              <a:gd name="connsiteY80" fmla="*/ 3890962 h 6858000"/>
              <a:gd name="connsiteX81" fmla="*/ 4104825 w 4272784"/>
              <a:gd name="connsiteY81" fmla="*/ 3935412 h 6858000"/>
              <a:gd name="connsiteX82" fmla="*/ 4094747 w 4272784"/>
              <a:gd name="connsiteY82" fmla="*/ 3987800 h 6858000"/>
              <a:gd name="connsiteX83" fmla="*/ 4084669 w 4272784"/>
              <a:gd name="connsiteY83" fmla="*/ 4048125 h 6858000"/>
              <a:gd name="connsiteX84" fmla="*/ 4082989 w 4272784"/>
              <a:gd name="connsiteY84" fmla="*/ 4116387 h 6858000"/>
              <a:gd name="connsiteX85" fmla="*/ 4084669 w 4272784"/>
              <a:gd name="connsiteY85" fmla="*/ 4186237 h 6858000"/>
              <a:gd name="connsiteX86" fmla="*/ 4094747 w 4272784"/>
              <a:gd name="connsiteY86" fmla="*/ 4244975 h 6858000"/>
              <a:gd name="connsiteX87" fmla="*/ 4104825 w 4272784"/>
              <a:gd name="connsiteY87" fmla="*/ 4297362 h 6858000"/>
              <a:gd name="connsiteX88" fmla="*/ 4119940 w 4272784"/>
              <a:gd name="connsiteY88" fmla="*/ 4343400 h 6858000"/>
              <a:gd name="connsiteX89" fmla="*/ 4138416 w 4272784"/>
              <a:gd name="connsiteY89" fmla="*/ 4386262 h 6858000"/>
              <a:gd name="connsiteX90" fmla="*/ 4156892 w 4272784"/>
              <a:gd name="connsiteY90" fmla="*/ 4424362 h 6858000"/>
              <a:gd name="connsiteX91" fmla="*/ 4197202 w 4272784"/>
              <a:gd name="connsiteY91" fmla="*/ 4498975 h 6858000"/>
              <a:gd name="connsiteX92" fmla="*/ 4217357 w 4272784"/>
              <a:gd name="connsiteY92" fmla="*/ 4537075 h 6858000"/>
              <a:gd name="connsiteX93" fmla="*/ 4234153 w 4272784"/>
              <a:gd name="connsiteY93" fmla="*/ 4579937 h 6858000"/>
              <a:gd name="connsiteX94" fmla="*/ 4249270 w 4272784"/>
              <a:gd name="connsiteY94" fmla="*/ 4625975 h 6858000"/>
              <a:gd name="connsiteX95" fmla="*/ 4261027 w 4272784"/>
              <a:gd name="connsiteY95" fmla="*/ 4678362 h 6858000"/>
              <a:gd name="connsiteX96" fmla="*/ 4269425 w 4272784"/>
              <a:gd name="connsiteY96" fmla="*/ 4738687 h 6858000"/>
              <a:gd name="connsiteX97" fmla="*/ 4272784 w 4272784"/>
              <a:gd name="connsiteY97" fmla="*/ 4806950 h 6858000"/>
              <a:gd name="connsiteX98" fmla="*/ 4269425 w 4272784"/>
              <a:gd name="connsiteY98" fmla="*/ 4875212 h 6858000"/>
              <a:gd name="connsiteX99" fmla="*/ 4261027 w 4272784"/>
              <a:gd name="connsiteY99" fmla="*/ 4935537 h 6858000"/>
              <a:gd name="connsiteX100" fmla="*/ 4249270 w 4272784"/>
              <a:gd name="connsiteY100" fmla="*/ 4987925 h 6858000"/>
              <a:gd name="connsiteX101" fmla="*/ 4234153 w 4272784"/>
              <a:gd name="connsiteY101" fmla="*/ 5033962 h 6858000"/>
              <a:gd name="connsiteX102" fmla="*/ 4217357 w 4272784"/>
              <a:gd name="connsiteY102" fmla="*/ 5075237 h 6858000"/>
              <a:gd name="connsiteX103" fmla="*/ 4197202 w 4272784"/>
              <a:gd name="connsiteY103" fmla="*/ 5114925 h 6858000"/>
              <a:gd name="connsiteX104" fmla="*/ 4177047 w 4272784"/>
              <a:gd name="connsiteY104" fmla="*/ 5149850 h 6858000"/>
              <a:gd name="connsiteX105" fmla="*/ 4156892 w 4272784"/>
              <a:gd name="connsiteY105" fmla="*/ 5186362 h 6858000"/>
              <a:gd name="connsiteX106" fmla="*/ 4138416 w 4272784"/>
              <a:gd name="connsiteY106" fmla="*/ 5226050 h 6858000"/>
              <a:gd name="connsiteX107" fmla="*/ 4119940 w 4272784"/>
              <a:gd name="connsiteY107" fmla="*/ 5268912 h 6858000"/>
              <a:gd name="connsiteX108" fmla="*/ 4104825 w 4272784"/>
              <a:gd name="connsiteY108" fmla="*/ 5313362 h 6858000"/>
              <a:gd name="connsiteX109" fmla="*/ 4094747 w 4272784"/>
              <a:gd name="connsiteY109" fmla="*/ 5365750 h 6858000"/>
              <a:gd name="connsiteX110" fmla="*/ 4084669 w 4272784"/>
              <a:gd name="connsiteY110" fmla="*/ 5426075 h 6858000"/>
              <a:gd name="connsiteX111" fmla="*/ 4082989 w 4272784"/>
              <a:gd name="connsiteY111" fmla="*/ 5494337 h 6858000"/>
              <a:gd name="connsiteX112" fmla="*/ 4084669 w 4272784"/>
              <a:gd name="connsiteY112" fmla="*/ 5562600 h 6858000"/>
              <a:gd name="connsiteX113" fmla="*/ 4094747 w 4272784"/>
              <a:gd name="connsiteY113" fmla="*/ 5622925 h 6858000"/>
              <a:gd name="connsiteX114" fmla="*/ 4104825 w 4272784"/>
              <a:gd name="connsiteY114" fmla="*/ 5675312 h 6858000"/>
              <a:gd name="connsiteX115" fmla="*/ 4119940 w 4272784"/>
              <a:gd name="connsiteY115" fmla="*/ 5721350 h 6858000"/>
              <a:gd name="connsiteX116" fmla="*/ 4138416 w 4272784"/>
              <a:gd name="connsiteY116" fmla="*/ 5762625 h 6858000"/>
              <a:gd name="connsiteX117" fmla="*/ 4156892 w 4272784"/>
              <a:gd name="connsiteY117" fmla="*/ 5802312 h 6858000"/>
              <a:gd name="connsiteX118" fmla="*/ 4177047 w 4272784"/>
              <a:gd name="connsiteY118" fmla="*/ 5840412 h 6858000"/>
              <a:gd name="connsiteX119" fmla="*/ 4197202 w 4272784"/>
              <a:gd name="connsiteY119" fmla="*/ 5876925 h 6858000"/>
              <a:gd name="connsiteX120" fmla="*/ 4217357 w 4272784"/>
              <a:gd name="connsiteY120" fmla="*/ 5915025 h 6858000"/>
              <a:gd name="connsiteX121" fmla="*/ 4234153 w 4272784"/>
              <a:gd name="connsiteY121" fmla="*/ 5956300 h 6858000"/>
              <a:gd name="connsiteX122" fmla="*/ 4249270 w 4272784"/>
              <a:gd name="connsiteY122" fmla="*/ 6003925 h 6858000"/>
              <a:gd name="connsiteX123" fmla="*/ 4261027 w 4272784"/>
              <a:gd name="connsiteY123" fmla="*/ 6056312 h 6858000"/>
              <a:gd name="connsiteX124" fmla="*/ 4269425 w 4272784"/>
              <a:gd name="connsiteY124" fmla="*/ 6113462 h 6858000"/>
              <a:gd name="connsiteX125" fmla="*/ 4272784 w 4272784"/>
              <a:gd name="connsiteY125" fmla="*/ 6183312 h 6858000"/>
              <a:gd name="connsiteX126" fmla="*/ 4269425 w 4272784"/>
              <a:gd name="connsiteY126" fmla="*/ 6251575 h 6858000"/>
              <a:gd name="connsiteX127" fmla="*/ 4261027 w 4272784"/>
              <a:gd name="connsiteY127" fmla="*/ 6311900 h 6858000"/>
              <a:gd name="connsiteX128" fmla="*/ 4249270 w 4272784"/>
              <a:gd name="connsiteY128" fmla="*/ 6361112 h 6858000"/>
              <a:gd name="connsiteX129" fmla="*/ 4234153 w 4272784"/>
              <a:gd name="connsiteY129" fmla="*/ 6407150 h 6858000"/>
              <a:gd name="connsiteX130" fmla="*/ 4217357 w 4272784"/>
              <a:gd name="connsiteY130" fmla="*/ 6448425 h 6858000"/>
              <a:gd name="connsiteX131" fmla="*/ 4198882 w 4272784"/>
              <a:gd name="connsiteY131" fmla="*/ 6488112 h 6858000"/>
              <a:gd name="connsiteX132" fmla="*/ 4180406 w 4272784"/>
              <a:gd name="connsiteY132" fmla="*/ 6523037 h 6858000"/>
              <a:gd name="connsiteX133" fmla="*/ 4160251 w 4272784"/>
              <a:gd name="connsiteY133" fmla="*/ 6561137 h 6858000"/>
              <a:gd name="connsiteX134" fmla="*/ 4140096 w 4272784"/>
              <a:gd name="connsiteY134" fmla="*/ 6597650 h 6858000"/>
              <a:gd name="connsiteX135" fmla="*/ 4123300 w 4272784"/>
              <a:gd name="connsiteY135" fmla="*/ 6640512 h 6858000"/>
              <a:gd name="connsiteX136" fmla="*/ 4106504 w 4272784"/>
              <a:gd name="connsiteY136" fmla="*/ 6683375 h 6858000"/>
              <a:gd name="connsiteX137" fmla="*/ 4096426 w 4272784"/>
              <a:gd name="connsiteY137" fmla="*/ 6735762 h 6858000"/>
              <a:gd name="connsiteX138" fmla="*/ 4088029 w 4272784"/>
              <a:gd name="connsiteY138" fmla="*/ 6791325 h 6858000"/>
              <a:gd name="connsiteX139" fmla="*/ 4082989 w 4272784"/>
              <a:gd name="connsiteY139" fmla="*/ 6858000 h 6858000"/>
              <a:gd name="connsiteX140" fmla="*/ 0 w 4272784"/>
              <a:gd name="connsiteY14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4272784" h="6858000">
                <a:moveTo>
                  <a:pt x="0" y="0"/>
                </a:moveTo>
                <a:lnTo>
                  <a:pt x="4082989" y="0"/>
                </a:lnTo>
                <a:lnTo>
                  <a:pt x="4088029" y="66675"/>
                </a:lnTo>
                <a:lnTo>
                  <a:pt x="4096426" y="122237"/>
                </a:lnTo>
                <a:lnTo>
                  <a:pt x="4106504" y="174625"/>
                </a:lnTo>
                <a:lnTo>
                  <a:pt x="4123300" y="217487"/>
                </a:lnTo>
                <a:lnTo>
                  <a:pt x="4140096" y="260350"/>
                </a:lnTo>
                <a:lnTo>
                  <a:pt x="4160251" y="296862"/>
                </a:lnTo>
                <a:lnTo>
                  <a:pt x="4180406" y="334962"/>
                </a:lnTo>
                <a:lnTo>
                  <a:pt x="4198882" y="369887"/>
                </a:lnTo>
                <a:lnTo>
                  <a:pt x="4217357" y="409575"/>
                </a:lnTo>
                <a:lnTo>
                  <a:pt x="4234153" y="450850"/>
                </a:lnTo>
                <a:lnTo>
                  <a:pt x="4249270" y="496887"/>
                </a:lnTo>
                <a:lnTo>
                  <a:pt x="4261027" y="546100"/>
                </a:lnTo>
                <a:lnTo>
                  <a:pt x="4269425" y="606425"/>
                </a:lnTo>
                <a:lnTo>
                  <a:pt x="4272784" y="673100"/>
                </a:lnTo>
                <a:lnTo>
                  <a:pt x="4269425" y="744537"/>
                </a:lnTo>
                <a:lnTo>
                  <a:pt x="4261027" y="801687"/>
                </a:lnTo>
                <a:lnTo>
                  <a:pt x="4249270" y="854075"/>
                </a:lnTo>
                <a:lnTo>
                  <a:pt x="4234153" y="901700"/>
                </a:lnTo>
                <a:lnTo>
                  <a:pt x="4217357" y="942975"/>
                </a:lnTo>
                <a:lnTo>
                  <a:pt x="4197202" y="981075"/>
                </a:lnTo>
                <a:lnTo>
                  <a:pt x="4177047" y="1017587"/>
                </a:lnTo>
                <a:lnTo>
                  <a:pt x="4156892" y="1055687"/>
                </a:lnTo>
                <a:lnTo>
                  <a:pt x="4138416" y="1095375"/>
                </a:lnTo>
                <a:lnTo>
                  <a:pt x="4119940" y="1136650"/>
                </a:lnTo>
                <a:lnTo>
                  <a:pt x="4104825" y="1182687"/>
                </a:lnTo>
                <a:lnTo>
                  <a:pt x="4094747" y="1235075"/>
                </a:lnTo>
                <a:lnTo>
                  <a:pt x="4084669" y="1295400"/>
                </a:lnTo>
                <a:lnTo>
                  <a:pt x="4082989" y="1363662"/>
                </a:lnTo>
                <a:lnTo>
                  <a:pt x="4084669" y="1431925"/>
                </a:lnTo>
                <a:lnTo>
                  <a:pt x="4094747" y="1492250"/>
                </a:lnTo>
                <a:lnTo>
                  <a:pt x="4104825" y="1544637"/>
                </a:lnTo>
                <a:lnTo>
                  <a:pt x="4119940" y="1589087"/>
                </a:lnTo>
                <a:lnTo>
                  <a:pt x="4138416" y="1631950"/>
                </a:lnTo>
                <a:lnTo>
                  <a:pt x="4156892" y="1671637"/>
                </a:lnTo>
                <a:lnTo>
                  <a:pt x="4177047" y="1708150"/>
                </a:lnTo>
                <a:lnTo>
                  <a:pt x="4197202" y="1743075"/>
                </a:lnTo>
                <a:lnTo>
                  <a:pt x="4217357" y="1782762"/>
                </a:lnTo>
                <a:lnTo>
                  <a:pt x="4234153" y="1824037"/>
                </a:lnTo>
                <a:lnTo>
                  <a:pt x="4249270" y="1870075"/>
                </a:lnTo>
                <a:lnTo>
                  <a:pt x="4261027" y="1922462"/>
                </a:lnTo>
                <a:lnTo>
                  <a:pt x="4269425" y="1982787"/>
                </a:lnTo>
                <a:lnTo>
                  <a:pt x="4272784" y="2051050"/>
                </a:lnTo>
                <a:lnTo>
                  <a:pt x="4269425" y="2119312"/>
                </a:lnTo>
                <a:lnTo>
                  <a:pt x="4261027" y="2179637"/>
                </a:lnTo>
                <a:lnTo>
                  <a:pt x="4249270" y="2232025"/>
                </a:lnTo>
                <a:lnTo>
                  <a:pt x="4234153" y="2278062"/>
                </a:lnTo>
                <a:lnTo>
                  <a:pt x="4217357" y="2319337"/>
                </a:lnTo>
                <a:lnTo>
                  <a:pt x="4197202" y="2359025"/>
                </a:lnTo>
                <a:lnTo>
                  <a:pt x="4177047" y="2395537"/>
                </a:lnTo>
                <a:lnTo>
                  <a:pt x="4156892" y="2433637"/>
                </a:lnTo>
                <a:lnTo>
                  <a:pt x="4138416" y="2471737"/>
                </a:lnTo>
                <a:lnTo>
                  <a:pt x="4119940" y="2513012"/>
                </a:lnTo>
                <a:lnTo>
                  <a:pt x="4104825" y="2560637"/>
                </a:lnTo>
                <a:lnTo>
                  <a:pt x="4094747" y="2613025"/>
                </a:lnTo>
                <a:lnTo>
                  <a:pt x="4084669" y="2671762"/>
                </a:lnTo>
                <a:lnTo>
                  <a:pt x="4082989" y="2741612"/>
                </a:lnTo>
                <a:lnTo>
                  <a:pt x="4084669" y="2809875"/>
                </a:lnTo>
                <a:lnTo>
                  <a:pt x="4094747" y="2868612"/>
                </a:lnTo>
                <a:lnTo>
                  <a:pt x="4104825" y="2922587"/>
                </a:lnTo>
                <a:lnTo>
                  <a:pt x="4119940" y="2967037"/>
                </a:lnTo>
                <a:lnTo>
                  <a:pt x="4138416" y="3009900"/>
                </a:lnTo>
                <a:lnTo>
                  <a:pt x="4156892" y="3046412"/>
                </a:lnTo>
                <a:lnTo>
                  <a:pt x="4177047" y="3084512"/>
                </a:lnTo>
                <a:lnTo>
                  <a:pt x="4197202" y="3121025"/>
                </a:lnTo>
                <a:lnTo>
                  <a:pt x="4217357" y="3160712"/>
                </a:lnTo>
                <a:lnTo>
                  <a:pt x="4234153" y="3201987"/>
                </a:lnTo>
                <a:lnTo>
                  <a:pt x="4249270" y="3248025"/>
                </a:lnTo>
                <a:lnTo>
                  <a:pt x="4261027" y="3300412"/>
                </a:lnTo>
                <a:lnTo>
                  <a:pt x="4269425" y="3360737"/>
                </a:lnTo>
                <a:lnTo>
                  <a:pt x="4272784" y="3427412"/>
                </a:lnTo>
                <a:lnTo>
                  <a:pt x="4269425" y="3497262"/>
                </a:lnTo>
                <a:lnTo>
                  <a:pt x="4261027" y="3557587"/>
                </a:lnTo>
                <a:lnTo>
                  <a:pt x="4249270" y="3609975"/>
                </a:lnTo>
                <a:lnTo>
                  <a:pt x="4234153" y="3656012"/>
                </a:lnTo>
                <a:lnTo>
                  <a:pt x="4217357" y="3697287"/>
                </a:lnTo>
                <a:lnTo>
                  <a:pt x="4197202" y="3736975"/>
                </a:lnTo>
                <a:lnTo>
                  <a:pt x="4156892" y="3811587"/>
                </a:lnTo>
                <a:lnTo>
                  <a:pt x="4138416" y="3848100"/>
                </a:lnTo>
                <a:lnTo>
                  <a:pt x="4119940" y="3890962"/>
                </a:lnTo>
                <a:lnTo>
                  <a:pt x="4104825" y="3935412"/>
                </a:lnTo>
                <a:lnTo>
                  <a:pt x="4094747" y="3987800"/>
                </a:lnTo>
                <a:lnTo>
                  <a:pt x="4084669" y="4048125"/>
                </a:lnTo>
                <a:lnTo>
                  <a:pt x="4082989" y="4116387"/>
                </a:lnTo>
                <a:lnTo>
                  <a:pt x="4084669" y="4186237"/>
                </a:lnTo>
                <a:lnTo>
                  <a:pt x="4094747" y="4244975"/>
                </a:lnTo>
                <a:lnTo>
                  <a:pt x="4104825" y="4297362"/>
                </a:lnTo>
                <a:lnTo>
                  <a:pt x="4119940" y="4343400"/>
                </a:lnTo>
                <a:lnTo>
                  <a:pt x="4138416" y="4386262"/>
                </a:lnTo>
                <a:lnTo>
                  <a:pt x="4156892" y="4424362"/>
                </a:lnTo>
                <a:lnTo>
                  <a:pt x="4197202" y="4498975"/>
                </a:lnTo>
                <a:lnTo>
                  <a:pt x="4217357" y="4537075"/>
                </a:lnTo>
                <a:lnTo>
                  <a:pt x="4234153" y="4579937"/>
                </a:lnTo>
                <a:lnTo>
                  <a:pt x="4249270" y="4625975"/>
                </a:lnTo>
                <a:lnTo>
                  <a:pt x="4261027" y="4678362"/>
                </a:lnTo>
                <a:lnTo>
                  <a:pt x="4269425" y="4738687"/>
                </a:lnTo>
                <a:lnTo>
                  <a:pt x="4272784" y="4806950"/>
                </a:lnTo>
                <a:lnTo>
                  <a:pt x="4269425" y="4875212"/>
                </a:lnTo>
                <a:lnTo>
                  <a:pt x="4261027" y="4935537"/>
                </a:lnTo>
                <a:lnTo>
                  <a:pt x="4249270" y="4987925"/>
                </a:lnTo>
                <a:lnTo>
                  <a:pt x="4234153" y="5033962"/>
                </a:lnTo>
                <a:lnTo>
                  <a:pt x="4217357" y="5075237"/>
                </a:lnTo>
                <a:lnTo>
                  <a:pt x="4197202" y="5114925"/>
                </a:lnTo>
                <a:lnTo>
                  <a:pt x="4177047" y="5149850"/>
                </a:lnTo>
                <a:lnTo>
                  <a:pt x="4156892" y="5186362"/>
                </a:lnTo>
                <a:lnTo>
                  <a:pt x="4138416" y="5226050"/>
                </a:lnTo>
                <a:lnTo>
                  <a:pt x="4119940" y="5268912"/>
                </a:lnTo>
                <a:lnTo>
                  <a:pt x="4104825" y="5313362"/>
                </a:lnTo>
                <a:lnTo>
                  <a:pt x="4094747" y="5365750"/>
                </a:lnTo>
                <a:lnTo>
                  <a:pt x="4084669" y="5426075"/>
                </a:lnTo>
                <a:lnTo>
                  <a:pt x="4082989" y="5494337"/>
                </a:lnTo>
                <a:lnTo>
                  <a:pt x="4084669" y="5562600"/>
                </a:lnTo>
                <a:lnTo>
                  <a:pt x="4094747" y="5622925"/>
                </a:lnTo>
                <a:lnTo>
                  <a:pt x="4104825" y="5675312"/>
                </a:lnTo>
                <a:lnTo>
                  <a:pt x="4119940" y="5721350"/>
                </a:lnTo>
                <a:lnTo>
                  <a:pt x="4138416" y="5762625"/>
                </a:lnTo>
                <a:lnTo>
                  <a:pt x="4156892" y="5802312"/>
                </a:lnTo>
                <a:lnTo>
                  <a:pt x="4177047" y="5840412"/>
                </a:lnTo>
                <a:lnTo>
                  <a:pt x="4197202" y="5876925"/>
                </a:lnTo>
                <a:lnTo>
                  <a:pt x="4217357" y="5915025"/>
                </a:lnTo>
                <a:lnTo>
                  <a:pt x="4234153" y="5956300"/>
                </a:lnTo>
                <a:lnTo>
                  <a:pt x="4249270" y="6003925"/>
                </a:lnTo>
                <a:lnTo>
                  <a:pt x="4261027" y="6056312"/>
                </a:lnTo>
                <a:lnTo>
                  <a:pt x="4269425" y="6113462"/>
                </a:lnTo>
                <a:lnTo>
                  <a:pt x="4272784" y="6183312"/>
                </a:lnTo>
                <a:lnTo>
                  <a:pt x="4269425" y="6251575"/>
                </a:lnTo>
                <a:lnTo>
                  <a:pt x="4261027" y="6311900"/>
                </a:lnTo>
                <a:lnTo>
                  <a:pt x="4249270" y="6361112"/>
                </a:lnTo>
                <a:lnTo>
                  <a:pt x="4234153" y="6407150"/>
                </a:lnTo>
                <a:lnTo>
                  <a:pt x="4217357" y="6448425"/>
                </a:lnTo>
                <a:lnTo>
                  <a:pt x="4198882" y="6488112"/>
                </a:lnTo>
                <a:lnTo>
                  <a:pt x="4180406" y="6523037"/>
                </a:lnTo>
                <a:lnTo>
                  <a:pt x="4160251" y="6561137"/>
                </a:lnTo>
                <a:lnTo>
                  <a:pt x="4140096" y="6597650"/>
                </a:lnTo>
                <a:lnTo>
                  <a:pt x="4123300" y="6640512"/>
                </a:lnTo>
                <a:lnTo>
                  <a:pt x="4106504" y="6683375"/>
                </a:lnTo>
                <a:lnTo>
                  <a:pt x="4096426" y="6735762"/>
                </a:lnTo>
                <a:lnTo>
                  <a:pt x="4088029" y="6791325"/>
                </a:lnTo>
                <a:lnTo>
                  <a:pt x="4082989" y="6858000"/>
                </a:lnTo>
                <a:lnTo>
                  <a:pt x="0" y="6858000"/>
                </a:lnTo>
                <a:close/>
              </a:path>
            </a:pathLst>
          </a:custGeom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1" name="Freeform: Shape 45">
            <a:extLst>
              <a:ext uri="{FF2B5EF4-FFF2-40B4-BE49-F238E27FC236}">
                <a16:creationId xmlns:a16="http://schemas.microsoft.com/office/drawing/2014/main" id="{909E572F-9CDC-4214-9D42-FF00176495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4417162" cy="6858000"/>
          </a:xfrm>
          <a:custGeom>
            <a:avLst/>
            <a:gdLst>
              <a:gd name="connsiteX0" fmla="*/ 4417162 w 4417162"/>
              <a:gd name="connsiteY0" fmla="*/ 0 h 6858000"/>
              <a:gd name="connsiteX1" fmla="*/ 334174 w 4417162"/>
              <a:gd name="connsiteY1" fmla="*/ 0 h 6858000"/>
              <a:gd name="connsiteX2" fmla="*/ 334173 w 4417162"/>
              <a:gd name="connsiteY2" fmla="*/ 0 h 6858000"/>
              <a:gd name="connsiteX3" fmla="*/ 189795 w 4417162"/>
              <a:gd name="connsiteY3" fmla="*/ 0 h 6858000"/>
              <a:gd name="connsiteX4" fmla="*/ 184756 w 4417162"/>
              <a:gd name="connsiteY4" fmla="*/ 66675 h 6858000"/>
              <a:gd name="connsiteX5" fmla="*/ 176358 w 4417162"/>
              <a:gd name="connsiteY5" fmla="*/ 122237 h 6858000"/>
              <a:gd name="connsiteX6" fmla="*/ 166281 w 4417162"/>
              <a:gd name="connsiteY6" fmla="*/ 174625 h 6858000"/>
              <a:gd name="connsiteX7" fmla="*/ 149485 w 4417162"/>
              <a:gd name="connsiteY7" fmla="*/ 217487 h 6858000"/>
              <a:gd name="connsiteX8" fmla="*/ 132689 w 4417162"/>
              <a:gd name="connsiteY8" fmla="*/ 260350 h 6858000"/>
              <a:gd name="connsiteX9" fmla="*/ 112534 w 4417162"/>
              <a:gd name="connsiteY9" fmla="*/ 296862 h 6858000"/>
              <a:gd name="connsiteX10" fmla="*/ 92379 w 4417162"/>
              <a:gd name="connsiteY10" fmla="*/ 334962 h 6858000"/>
              <a:gd name="connsiteX11" fmla="*/ 73903 w 4417162"/>
              <a:gd name="connsiteY11" fmla="*/ 369887 h 6858000"/>
              <a:gd name="connsiteX12" fmla="*/ 55427 w 4417162"/>
              <a:gd name="connsiteY12" fmla="*/ 409575 h 6858000"/>
              <a:gd name="connsiteX13" fmla="*/ 38632 w 4417162"/>
              <a:gd name="connsiteY13" fmla="*/ 450850 h 6858000"/>
              <a:gd name="connsiteX14" fmla="*/ 23515 w 4417162"/>
              <a:gd name="connsiteY14" fmla="*/ 496887 h 6858000"/>
              <a:gd name="connsiteX15" fmla="*/ 11758 w 4417162"/>
              <a:gd name="connsiteY15" fmla="*/ 546100 h 6858000"/>
              <a:gd name="connsiteX16" fmla="*/ 3359 w 4417162"/>
              <a:gd name="connsiteY16" fmla="*/ 606425 h 6858000"/>
              <a:gd name="connsiteX17" fmla="*/ 0 w 4417162"/>
              <a:gd name="connsiteY17" fmla="*/ 673100 h 6858000"/>
              <a:gd name="connsiteX18" fmla="*/ 3359 w 4417162"/>
              <a:gd name="connsiteY18" fmla="*/ 744537 h 6858000"/>
              <a:gd name="connsiteX19" fmla="*/ 11758 w 4417162"/>
              <a:gd name="connsiteY19" fmla="*/ 801687 h 6858000"/>
              <a:gd name="connsiteX20" fmla="*/ 23515 w 4417162"/>
              <a:gd name="connsiteY20" fmla="*/ 854075 h 6858000"/>
              <a:gd name="connsiteX21" fmla="*/ 38632 w 4417162"/>
              <a:gd name="connsiteY21" fmla="*/ 901700 h 6858000"/>
              <a:gd name="connsiteX22" fmla="*/ 55427 w 4417162"/>
              <a:gd name="connsiteY22" fmla="*/ 942975 h 6858000"/>
              <a:gd name="connsiteX23" fmla="*/ 75583 w 4417162"/>
              <a:gd name="connsiteY23" fmla="*/ 981075 h 6858000"/>
              <a:gd name="connsiteX24" fmla="*/ 95738 w 4417162"/>
              <a:gd name="connsiteY24" fmla="*/ 1017587 h 6858000"/>
              <a:gd name="connsiteX25" fmla="*/ 115893 w 4417162"/>
              <a:gd name="connsiteY25" fmla="*/ 1055687 h 6858000"/>
              <a:gd name="connsiteX26" fmla="*/ 134368 w 4417162"/>
              <a:gd name="connsiteY26" fmla="*/ 1095375 h 6858000"/>
              <a:gd name="connsiteX27" fmla="*/ 152844 w 4417162"/>
              <a:gd name="connsiteY27" fmla="*/ 1136650 h 6858000"/>
              <a:gd name="connsiteX28" fmla="*/ 167960 w 4417162"/>
              <a:gd name="connsiteY28" fmla="*/ 1182687 h 6858000"/>
              <a:gd name="connsiteX29" fmla="*/ 178038 w 4417162"/>
              <a:gd name="connsiteY29" fmla="*/ 1235075 h 6858000"/>
              <a:gd name="connsiteX30" fmla="*/ 188115 w 4417162"/>
              <a:gd name="connsiteY30" fmla="*/ 1295400 h 6858000"/>
              <a:gd name="connsiteX31" fmla="*/ 189795 w 4417162"/>
              <a:gd name="connsiteY31" fmla="*/ 1363662 h 6858000"/>
              <a:gd name="connsiteX32" fmla="*/ 188115 w 4417162"/>
              <a:gd name="connsiteY32" fmla="*/ 1431925 h 6858000"/>
              <a:gd name="connsiteX33" fmla="*/ 178038 w 4417162"/>
              <a:gd name="connsiteY33" fmla="*/ 1492250 h 6858000"/>
              <a:gd name="connsiteX34" fmla="*/ 167960 w 4417162"/>
              <a:gd name="connsiteY34" fmla="*/ 1544637 h 6858000"/>
              <a:gd name="connsiteX35" fmla="*/ 152844 w 4417162"/>
              <a:gd name="connsiteY35" fmla="*/ 1589087 h 6858000"/>
              <a:gd name="connsiteX36" fmla="*/ 134368 w 4417162"/>
              <a:gd name="connsiteY36" fmla="*/ 1631950 h 6858000"/>
              <a:gd name="connsiteX37" fmla="*/ 115893 w 4417162"/>
              <a:gd name="connsiteY37" fmla="*/ 1671637 h 6858000"/>
              <a:gd name="connsiteX38" fmla="*/ 95738 w 4417162"/>
              <a:gd name="connsiteY38" fmla="*/ 1708150 h 6858000"/>
              <a:gd name="connsiteX39" fmla="*/ 75583 w 4417162"/>
              <a:gd name="connsiteY39" fmla="*/ 1743075 h 6858000"/>
              <a:gd name="connsiteX40" fmla="*/ 55427 w 4417162"/>
              <a:gd name="connsiteY40" fmla="*/ 1782762 h 6858000"/>
              <a:gd name="connsiteX41" fmla="*/ 38632 w 4417162"/>
              <a:gd name="connsiteY41" fmla="*/ 1824037 h 6858000"/>
              <a:gd name="connsiteX42" fmla="*/ 23515 w 4417162"/>
              <a:gd name="connsiteY42" fmla="*/ 1870075 h 6858000"/>
              <a:gd name="connsiteX43" fmla="*/ 11758 w 4417162"/>
              <a:gd name="connsiteY43" fmla="*/ 1922462 h 6858000"/>
              <a:gd name="connsiteX44" fmla="*/ 3359 w 4417162"/>
              <a:gd name="connsiteY44" fmla="*/ 1982787 h 6858000"/>
              <a:gd name="connsiteX45" fmla="*/ 0 w 4417162"/>
              <a:gd name="connsiteY45" fmla="*/ 2051050 h 6858000"/>
              <a:gd name="connsiteX46" fmla="*/ 3359 w 4417162"/>
              <a:gd name="connsiteY46" fmla="*/ 2119312 h 6858000"/>
              <a:gd name="connsiteX47" fmla="*/ 11758 w 4417162"/>
              <a:gd name="connsiteY47" fmla="*/ 2179637 h 6858000"/>
              <a:gd name="connsiteX48" fmla="*/ 23515 w 4417162"/>
              <a:gd name="connsiteY48" fmla="*/ 2232025 h 6858000"/>
              <a:gd name="connsiteX49" fmla="*/ 38632 w 4417162"/>
              <a:gd name="connsiteY49" fmla="*/ 2278062 h 6858000"/>
              <a:gd name="connsiteX50" fmla="*/ 55427 w 4417162"/>
              <a:gd name="connsiteY50" fmla="*/ 2319337 h 6858000"/>
              <a:gd name="connsiteX51" fmla="*/ 75583 w 4417162"/>
              <a:gd name="connsiteY51" fmla="*/ 2359025 h 6858000"/>
              <a:gd name="connsiteX52" fmla="*/ 95738 w 4417162"/>
              <a:gd name="connsiteY52" fmla="*/ 2395537 h 6858000"/>
              <a:gd name="connsiteX53" fmla="*/ 115893 w 4417162"/>
              <a:gd name="connsiteY53" fmla="*/ 2433637 h 6858000"/>
              <a:gd name="connsiteX54" fmla="*/ 134368 w 4417162"/>
              <a:gd name="connsiteY54" fmla="*/ 2471737 h 6858000"/>
              <a:gd name="connsiteX55" fmla="*/ 152844 w 4417162"/>
              <a:gd name="connsiteY55" fmla="*/ 2513012 h 6858000"/>
              <a:gd name="connsiteX56" fmla="*/ 167960 w 4417162"/>
              <a:gd name="connsiteY56" fmla="*/ 2560637 h 6858000"/>
              <a:gd name="connsiteX57" fmla="*/ 178038 w 4417162"/>
              <a:gd name="connsiteY57" fmla="*/ 2613025 h 6858000"/>
              <a:gd name="connsiteX58" fmla="*/ 188115 w 4417162"/>
              <a:gd name="connsiteY58" fmla="*/ 2671762 h 6858000"/>
              <a:gd name="connsiteX59" fmla="*/ 189795 w 4417162"/>
              <a:gd name="connsiteY59" fmla="*/ 2741612 h 6858000"/>
              <a:gd name="connsiteX60" fmla="*/ 188115 w 4417162"/>
              <a:gd name="connsiteY60" fmla="*/ 2809875 h 6858000"/>
              <a:gd name="connsiteX61" fmla="*/ 178038 w 4417162"/>
              <a:gd name="connsiteY61" fmla="*/ 2868612 h 6858000"/>
              <a:gd name="connsiteX62" fmla="*/ 167960 w 4417162"/>
              <a:gd name="connsiteY62" fmla="*/ 2922587 h 6858000"/>
              <a:gd name="connsiteX63" fmla="*/ 152844 w 4417162"/>
              <a:gd name="connsiteY63" fmla="*/ 2967037 h 6858000"/>
              <a:gd name="connsiteX64" fmla="*/ 134368 w 4417162"/>
              <a:gd name="connsiteY64" fmla="*/ 3009900 h 6858000"/>
              <a:gd name="connsiteX65" fmla="*/ 115893 w 4417162"/>
              <a:gd name="connsiteY65" fmla="*/ 3046412 h 6858000"/>
              <a:gd name="connsiteX66" fmla="*/ 95738 w 4417162"/>
              <a:gd name="connsiteY66" fmla="*/ 3084512 h 6858000"/>
              <a:gd name="connsiteX67" fmla="*/ 75583 w 4417162"/>
              <a:gd name="connsiteY67" fmla="*/ 3121025 h 6858000"/>
              <a:gd name="connsiteX68" fmla="*/ 55427 w 4417162"/>
              <a:gd name="connsiteY68" fmla="*/ 3160712 h 6858000"/>
              <a:gd name="connsiteX69" fmla="*/ 38632 w 4417162"/>
              <a:gd name="connsiteY69" fmla="*/ 3201987 h 6858000"/>
              <a:gd name="connsiteX70" fmla="*/ 23515 w 4417162"/>
              <a:gd name="connsiteY70" fmla="*/ 3248025 h 6858000"/>
              <a:gd name="connsiteX71" fmla="*/ 11758 w 4417162"/>
              <a:gd name="connsiteY71" fmla="*/ 3300412 h 6858000"/>
              <a:gd name="connsiteX72" fmla="*/ 3359 w 4417162"/>
              <a:gd name="connsiteY72" fmla="*/ 3360737 h 6858000"/>
              <a:gd name="connsiteX73" fmla="*/ 0 w 4417162"/>
              <a:gd name="connsiteY73" fmla="*/ 3427412 h 6858000"/>
              <a:gd name="connsiteX74" fmla="*/ 3359 w 4417162"/>
              <a:gd name="connsiteY74" fmla="*/ 3497262 h 6858000"/>
              <a:gd name="connsiteX75" fmla="*/ 11758 w 4417162"/>
              <a:gd name="connsiteY75" fmla="*/ 3557587 h 6858000"/>
              <a:gd name="connsiteX76" fmla="*/ 23515 w 4417162"/>
              <a:gd name="connsiteY76" fmla="*/ 3609975 h 6858000"/>
              <a:gd name="connsiteX77" fmla="*/ 38632 w 4417162"/>
              <a:gd name="connsiteY77" fmla="*/ 3656012 h 6858000"/>
              <a:gd name="connsiteX78" fmla="*/ 55427 w 4417162"/>
              <a:gd name="connsiteY78" fmla="*/ 3697287 h 6858000"/>
              <a:gd name="connsiteX79" fmla="*/ 75583 w 4417162"/>
              <a:gd name="connsiteY79" fmla="*/ 3736975 h 6858000"/>
              <a:gd name="connsiteX80" fmla="*/ 115893 w 4417162"/>
              <a:gd name="connsiteY80" fmla="*/ 3811587 h 6858000"/>
              <a:gd name="connsiteX81" fmla="*/ 134368 w 4417162"/>
              <a:gd name="connsiteY81" fmla="*/ 3848100 h 6858000"/>
              <a:gd name="connsiteX82" fmla="*/ 152844 w 4417162"/>
              <a:gd name="connsiteY82" fmla="*/ 3890962 h 6858000"/>
              <a:gd name="connsiteX83" fmla="*/ 167960 w 4417162"/>
              <a:gd name="connsiteY83" fmla="*/ 3935412 h 6858000"/>
              <a:gd name="connsiteX84" fmla="*/ 178038 w 4417162"/>
              <a:gd name="connsiteY84" fmla="*/ 3987800 h 6858000"/>
              <a:gd name="connsiteX85" fmla="*/ 188115 w 4417162"/>
              <a:gd name="connsiteY85" fmla="*/ 4048125 h 6858000"/>
              <a:gd name="connsiteX86" fmla="*/ 189795 w 4417162"/>
              <a:gd name="connsiteY86" fmla="*/ 4116387 h 6858000"/>
              <a:gd name="connsiteX87" fmla="*/ 188115 w 4417162"/>
              <a:gd name="connsiteY87" fmla="*/ 4186237 h 6858000"/>
              <a:gd name="connsiteX88" fmla="*/ 178038 w 4417162"/>
              <a:gd name="connsiteY88" fmla="*/ 4244975 h 6858000"/>
              <a:gd name="connsiteX89" fmla="*/ 167960 w 4417162"/>
              <a:gd name="connsiteY89" fmla="*/ 4297362 h 6858000"/>
              <a:gd name="connsiteX90" fmla="*/ 152844 w 4417162"/>
              <a:gd name="connsiteY90" fmla="*/ 4343400 h 6858000"/>
              <a:gd name="connsiteX91" fmla="*/ 134368 w 4417162"/>
              <a:gd name="connsiteY91" fmla="*/ 4386262 h 6858000"/>
              <a:gd name="connsiteX92" fmla="*/ 115893 w 4417162"/>
              <a:gd name="connsiteY92" fmla="*/ 4424362 h 6858000"/>
              <a:gd name="connsiteX93" fmla="*/ 75583 w 4417162"/>
              <a:gd name="connsiteY93" fmla="*/ 4498975 h 6858000"/>
              <a:gd name="connsiteX94" fmla="*/ 55427 w 4417162"/>
              <a:gd name="connsiteY94" fmla="*/ 4537075 h 6858000"/>
              <a:gd name="connsiteX95" fmla="*/ 38632 w 4417162"/>
              <a:gd name="connsiteY95" fmla="*/ 4579937 h 6858000"/>
              <a:gd name="connsiteX96" fmla="*/ 23515 w 4417162"/>
              <a:gd name="connsiteY96" fmla="*/ 4625975 h 6858000"/>
              <a:gd name="connsiteX97" fmla="*/ 11758 w 4417162"/>
              <a:gd name="connsiteY97" fmla="*/ 4678362 h 6858000"/>
              <a:gd name="connsiteX98" fmla="*/ 3359 w 4417162"/>
              <a:gd name="connsiteY98" fmla="*/ 4738687 h 6858000"/>
              <a:gd name="connsiteX99" fmla="*/ 0 w 4417162"/>
              <a:gd name="connsiteY99" fmla="*/ 4806950 h 6858000"/>
              <a:gd name="connsiteX100" fmla="*/ 3359 w 4417162"/>
              <a:gd name="connsiteY100" fmla="*/ 4875212 h 6858000"/>
              <a:gd name="connsiteX101" fmla="*/ 11758 w 4417162"/>
              <a:gd name="connsiteY101" fmla="*/ 4935537 h 6858000"/>
              <a:gd name="connsiteX102" fmla="*/ 23515 w 4417162"/>
              <a:gd name="connsiteY102" fmla="*/ 4987925 h 6858000"/>
              <a:gd name="connsiteX103" fmla="*/ 38632 w 4417162"/>
              <a:gd name="connsiteY103" fmla="*/ 5033962 h 6858000"/>
              <a:gd name="connsiteX104" fmla="*/ 55427 w 4417162"/>
              <a:gd name="connsiteY104" fmla="*/ 5075237 h 6858000"/>
              <a:gd name="connsiteX105" fmla="*/ 75583 w 4417162"/>
              <a:gd name="connsiteY105" fmla="*/ 5114925 h 6858000"/>
              <a:gd name="connsiteX106" fmla="*/ 95738 w 4417162"/>
              <a:gd name="connsiteY106" fmla="*/ 5149850 h 6858000"/>
              <a:gd name="connsiteX107" fmla="*/ 115893 w 4417162"/>
              <a:gd name="connsiteY107" fmla="*/ 5186362 h 6858000"/>
              <a:gd name="connsiteX108" fmla="*/ 134368 w 4417162"/>
              <a:gd name="connsiteY108" fmla="*/ 5226050 h 6858000"/>
              <a:gd name="connsiteX109" fmla="*/ 152844 w 4417162"/>
              <a:gd name="connsiteY109" fmla="*/ 5268912 h 6858000"/>
              <a:gd name="connsiteX110" fmla="*/ 167960 w 4417162"/>
              <a:gd name="connsiteY110" fmla="*/ 5313362 h 6858000"/>
              <a:gd name="connsiteX111" fmla="*/ 178038 w 4417162"/>
              <a:gd name="connsiteY111" fmla="*/ 5365750 h 6858000"/>
              <a:gd name="connsiteX112" fmla="*/ 188115 w 4417162"/>
              <a:gd name="connsiteY112" fmla="*/ 5426075 h 6858000"/>
              <a:gd name="connsiteX113" fmla="*/ 189795 w 4417162"/>
              <a:gd name="connsiteY113" fmla="*/ 5494337 h 6858000"/>
              <a:gd name="connsiteX114" fmla="*/ 188115 w 4417162"/>
              <a:gd name="connsiteY114" fmla="*/ 5562600 h 6858000"/>
              <a:gd name="connsiteX115" fmla="*/ 178038 w 4417162"/>
              <a:gd name="connsiteY115" fmla="*/ 5622925 h 6858000"/>
              <a:gd name="connsiteX116" fmla="*/ 167960 w 4417162"/>
              <a:gd name="connsiteY116" fmla="*/ 5675312 h 6858000"/>
              <a:gd name="connsiteX117" fmla="*/ 152844 w 4417162"/>
              <a:gd name="connsiteY117" fmla="*/ 5721350 h 6858000"/>
              <a:gd name="connsiteX118" fmla="*/ 134368 w 4417162"/>
              <a:gd name="connsiteY118" fmla="*/ 5762625 h 6858000"/>
              <a:gd name="connsiteX119" fmla="*/ 115893 w 4417162"/>
              <a:gd name="connsiteY119" fmla="*/ 5802312 h 6858000"/>
              <a:gd name="connsiteX120" fmla="*/ 95738 w 4417162"/>
              <a:gd name="connsiteY120" fmla="*/ 5840412 h 6858000"/>
              <a:gd name="connsiteX121" fmla="*/ 75583 w 4417162"/>
              <a:gd name="connsiteY121" fmla="*/ 5876925 h 6858000"/>
              <a:gd name="connsiteX122" fmla="*/ 55427 w 4417162"/>
              <a:gd name="connsiteY122" fmla="*/ 5915025 h 6858000"/>
              <a:gd name="connsiteX123" fmla="*/ 38632 w 4417162"/>
              <a:gd name="connsiteY123" fmla="*/ 5956300 h 6858000"/>
              <a:gd name="connsiteX124" fmla="*/ 23515 w 4417162"/>
              <a:gd name="connsiteY124" fmla="*/ 6003925 h 6858000"/>
              <a:gd name="connsiteX125" fmla="*/ 11758 w 4417162"/>
              <a:gd name="connsiteY125" fmla="*/ 6056312 h 6858000"/>
              <a:gd name="connsiteX126" fmla="*/ 3359 w 4417162"/>
              <a:gd name="connsiteY126" fmla="*/ 6113462 h 6858000"/>
              <a:gd name="connsiteX127" fmla="*/ 0 w 4417162"/>
              <a:gd name="connsiteY127" fmla="*/ 6183312 h 6858000"/>
              <a:gd name="connsiteX128" fmla="*/ 3359 w 4417162"/>
              <a:gd name="connsiteY128" fmla="*/ 6251575 h 6858000"/>
              <a:gd name="connsiteX129" fmla="*/ 11758 w 4417162"/>
              <a:gd name="connsiteY129" fmla="*/ 6311900 h 6858000"/>
              <a:gd name="connsiteX130" fmla="*/ 23515 w 4417162"/>
              <a:gd name="connsiteY130" fmla="*/ 6361112 h 6858000"/>
              <a:gd name="connsiteX131" fmla="*/ 38632 w 4417162"/>
              <a:gd name="connsiteY131" fmla="*/ 6407150 h 6858000"/>
              <a:gd name="connsiteX132" fmla="*/ 55427 w 4417162"/>
              <a:gd name="connsiteY132" fmla="*/ 6448425 h 6858000"/>
              <a:gd name="connsiteX133" fmla="*/ 73903 w 4417162"/>
              <a:gd name="connsiteY133" fmla="*/ 6488112 h 6858000"/>
              <a:gd name="connsiteX134" fmla="*/ 92379 w 4417162"/>
              <a:gd name="connsiteY134" fmla="*/ 6523037 h 6858000"/>
              <a:gd name="connsiteX135" fmla="*/ 112534 w 4417162"/>
              <a:gd name="connsiteY135" fmla="*/ 6561137 h 6858000"/>
              <a:gd name="connsiteX136" fmla="*/ 132689 w 4417162"/>
              <a:gd name="connsiteY136" fmla="*/ 6597650 h 6858000"/>
              <a:gd name="connsiteX137" fmla="*/ 149485 w 4417162"/>
              <a:gd name="connsiteY137" fmla="*/ 6640512 h 6858000"/>
              <a:gd name="connsiteX138" fmla="*/ 166281 w 4417162"/>
              <a:gd name="connsiteY138" fmla="*/ 6683375 h 6858000"/>
              <a:gd name="connsiteX139" fmla="*/ 176358 w 4417162"/>
              <a:gd name="connsiteY139" fmla="*/ 6735762 h 6858000"/>
              <a:gd name="connsiteX140" fmla="*/ 184756 w 4417162"/>
              <a:gd name="connsiteY140" fmla="*/ 6791325 h 6858000"/>
              <a:gd name="connsiteX141" fmla="*/ 189795 w 4417162"/>
              <a:gd name="connsiteY141" fmla="*/ 6858000 h 6858000"/>
              <a:gd name="connsiteX142" fmla="*/ 334173 w 4417162"/>
              <a:gd name="connsiteY142" fmla="*/ 6858000 h 6858000"/>
              <a:gd name="connsiteX143" fmla="*/ 334174 w 4417162"/>
              <a:gd name="connsiteY143" fmla="*/ 6858000 h 6858000"/>
              <a:gd name="connsiteX144" fmla="*/ 4417162 w 4417162"/>
              <a:gd name="connsiteY14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4417162" h="6858000">
                <a:moveTo>
                  <a:pt x="4417162" y="0"/>
                </a:moveTo>
                <a:lnTo>
                  <a:pt x="334174" y="0"/>
                </a:lnTo>
                <a:lnTo>
                  <a:pt x="334173" y="0"/>
                </a:lnTo>
                <a:lnTo>
                  <a:pt x="189795" y="0"/>
                </a:lnTo>
                <a:lnTo>
                  <a:pt x="184756" y="66675"/>
                </a:lnTo>
                <a:lnTo>
                  <a:pt x="176358" y="122237"/>
                </a:lnTo>
                <a:lnTo>
                  <a:pt x="166281" y="174625"/>
                </a:lnTo>
                <a:lnTo>
                  <a:pt x="149485" y="217487"/>
                </a:lnTo>
                <a:lnTo>
                  <a:pt x="132689" y="260350"/>
                </a:lnTo>
                <a:lnTo>
                  <a:pt x="112534" y="296862"/>
                </a:lnTo>
                <a:lnTo>
                  <a:pt x="92379" y="334962"/>
                </a:lnTo>
                <a:lnTo>
                  <a:pt x="73903" y="369887"/>
                </a:lnTo>
                <a:lnTo>
                  <a:pt x="55427" y="409575"/>
                </a:lnTo>
                <a:lnTo>
                  <a:pt x="38632" y="450850"/>
                </a:lnTo>
                <a:lnTo>
                  <a:pt x="23515" y="496887"/>
                </a:lnTo>
                <a:lnTo>
                  <a:pt x="11758" y="546100"/>
                </a:lnTo>
                <a:lnTo>
                  <a:pt x="3359" y="606425"/>
                </a:lnTo>
                <a:lnTo>
                  <a:pt x="0" y="673100"/>
                </a:lnTo>
                <a:lnTo>
                  <a:pt x="3359" y="744537"/>
                </a:lnTo>
                <a:lnTo>
                  <a:pt x="11758" y="801687"/>
                </a:lnTo>
                <a:lnTo>
                  <a:pt x="23515" y="854075"/>
                </a:lnTo>
                <a:lnTo>
                  <a:pt x="38632" y="901700"/>
                </a:lnTo>
                <a:lnTo>
                  <a:pt x="55427" y="942975"/>
                </a:lnTo>
                <a:lnTo>
                  <a:pt x="75583" y="981075"/>
                </a:lnTo>
                <a:lnTo>
                  <a:pt x="95738" y="1017587"/>
                </a:lnTo>
                <a:lnTo>
                  <a:pt x="115893" y="1055687"/>
                </a:lnTo>
                <a:lnTo>
                  <a:pt x="134368" y="1095375"/>
                </a:lnTo>
                <a:lnTo>
                  <a:pt x="152844" y="1136650"/>
                </a:lnTo>
                <a:lnTo>
                  <a:pt x="167960" y="1182687"/>
                </a:lnTo>
                <a:lnTo>
                  <a:pt x="178038" y="1235075"/>
                </a:lnTo>
                <a:lnTo>
                  <a:pt x="188115" y="1295400"/>
                </a:lnTo>
                <a:lnTo>
                  <a:pt x="189795" y="1363662"/>
                </a:lnTo>
                <a:lnTo>
                  <a:pt x="188115" y="1431925"/>
                </a:lnTo>
                <a:lnTo>
                  <a:pt x="178038" y="1492250"/>
                </a:lnTo>
                <a:lnTo>
                  <a:pt x="167960" y="1544637"/>
                </a:lnTo>
                <a:lnTo>
                  <a:pt x="152844" y="1589087"/>
                </a:lnTo>
                <a:lnTo>
                  <a:pt x="134368" y="1631950"/>
                </a:lnTo>
                <a:lnTo>
                  <a:pt x="115893" y="1671637"/>
                </a:lnTo>
                <a:lnTo>
                  <a:pt x="95738" y="1708150"/>
                </a:lnTo>
                <a:lnTo>
                  <a:pt x="75583" y="1743075"/>
                </a:lnTo>
                <a:lnTo>
                  <a:pt x="55427" y="1782762"/>
                </a:lnTo>
                <a:lnTo>
                  <a:pt x="38632" y="1824037"/>
                </a:lnTo>
                <a:lnTo>
                  <a:pt x="23515" y="1870075"/>
                </a:lnTo>
                <a:lnTo>
                  <a:pt x="11758" y="1922462"/>
                </a:lnTo>
                <a:lnTo>
                  <a:pt x="3359" y="1982787"/>
                </a:lnTo>
                <a:lnTo>
                  <a:pt x="0" y="2051050"/>
                </a:lnTo>
                <a:lnTo>
                  <a:pt x="3359" y="2119312"/>
                </a:lnTo>
                <a:lnTo>
                  <a:pt x="11758" y="2179637"/>
                </a:lnTo>
                <a:lnTo>
                  <a:pt x="23515" y="2232025"/>
                </a:lnTo>
                <a:lnTo>
                  <a:pt x="38632" y="2278062"/>
                </a:lnTo>
                <a:lnTo>
                  <a:pt x="55427" y="2319337"/>
                </a:lnTo>
                <a:lnTo>
                  <a:pt x="75583" y="2359025"/>
                </a:lnTo>
                <a:lnTo>
                  <a:pt x="95738" y="2395537"/>
                </a:lnTo>
                <a:lnTo>
                  <a:pt x="115893" y="2433637"/>
                </a:lnTo>
                <a:lnTo>
                  <a:pt x="134368" y="2471737"/>
                </a:lnTo>
                <a:lnTo>
                  <a:pt x="152844" y="2513012"/>
                </a:lnTo>
                <a:lnTo>
                  <a:pt x="167960" y="2560637"/>
                </a:lnTo>
                <a:lnTo>
                  <a:pt x="178038" y="2613025"/>
                </a:lnTo>
                <a:lnTo>
                  <a:pt x="188115" y="2671762"/>
                </a:lnTo>
                <a:lnTo>
                  <a:pt x="189795" y="2741612"/>
                </a:lnTo>
                <a:lnTo>
                  <a:pt x="188115" y="2809875"/>
                </a:lnTo>
                <a:lnTo>
                  <a:pt x="178038" y="2868612"/>
                </a:lnTo>
                <a:lnTo>
                  <a:pt x="167960" y="2922587"/>
                </a:lnTo>
                <a:lnTo>
                  <a:pt x="152844" y="2967037"/>
                </a:lnTo>
                <a:lnTo>
                  <a:pt x="134368" y="3009900"/>
                </a:lnTo>
                <a:lnTo>
                  <a:pt x="115893" y="3046412"/>
                </a:lnTo>
                <a:lnTo>
                  <a:pt x="95738" y="3084512"/>
                </a:lnTo>
                <a:lnTo>
                  <a:pt x="75583" y="3121025"/>
                </a:lnTo>
                <a:lnTo>
                  <a:pt x="55427" y="3160712"/>
                </a:lnTo>
                <a:lnTo>
                  <a:pt x="38632" y="3201987"/>
                </a:lnTo>
                <a:lnTo>
                  <a:pt x="23515" y="3248025"/>
                </a:lnTo>
                <a:lnTo>
                  <a:pt x="11758" y="3300412"/>
                </a:lnTo>
                <a:lnTo>
                  <a:pt x="3359" y="3360737"/>
                </a:lnTo>
                <a:lnTo>
                  <a:pt x="0" y="3427412"/>
                </a:lnTo>
                <a:lnTo>
                  <a:pt x="3359" y="3497262"/>
                </a:lnTo>
                <a:lnTo>
                  <a:pt x="11758" y="3557587"/>
                </a:lnTo>
                <a:lnTo>
                  <a:pt x="23515" y="3609975"/>
                </a:lnTo>
                <a:lnTo>
                  <a:pt x="38632" y="3656012"/>
                </a:lnTo>
                <a:lnTo>
                  <a:pt x="55427" y="3697287"/>
                </a:lnTo>
                <a:lnTo>
                  <a:pt x="75583" y="3736975"/>
                </a:lnTo>
                <a:lnTo>
                  <a:pt x="115893" y="3811587"/>
                </a:lnTo>
                <a:lnTo>
                  <a:pt x="134368" y="3848100"/>
                </a:lnTo>
                <a:lnTo>
                  <a:pt x="152844" y="3890962"/>
                </a:lnTo>
                <a:lnTo>
                  <a:pt x="167960" y="3935412"/>
                </a:lnTo>
                <a:lnTo>
                  <a:pt x="178038" y="3987800"/>
                </a:lnTo>
                <a:lnTo>
                  <a:pt x="188115" y="4048125"/>
                </a:lnTo>
                <a:lnTo>
                  <a:pt x="189795" y="4116387"/>
                </a:lnTo>
                <a:lnTo>
                  <a:pt x="188115" y="4186237"/>
                </a:lnTo>
                <a:lnTo>
                  <a:pt x="178038" y="4244975"/>
                </a:lnTo>
                <a:lnTo>
                  <a:pt x="167960" y="4297362"/>
                </a:lnTo>
                <a:lnTo>
                  <a:pt x="152844" y="4343400"/>
                </a:lnTo>
                <a:lnTo>
                  <a:pt x="134368" y="4386262"/>
                </a:lnTo>
                <a:lnTo>
                  <a:pt x="115893" y="4424362"/>
                </a:lnTo>
                <a:lnTo>
                  <a:pt x="75583" y="4498975"/>
                </a:lnTo>
                <a:lnTo>
                  <a:pt x="55427" y="4537075"/>
                </a:lnTo>
                <a:lnTo>
                  <a:pt x="38632" y="4579937"/>
                </a:lnTo>
                <a:lnTo>
                  <a:pt x="23515" y="4625975"/>
                </a:lnTo>
                <a:lnTo>
                  <a:pt x="11758" y="4678362"/>
                </a:lnTo>
                <a:lnTo>
                  <a:pt x="3359" y="4738687"/>
                </a:lnTo>
                <a:lnTo>
                  <a:pt x="0" y="4806950"/>
                </a:lnTo>
                <a:lnTo>
                  <a:pt x="3359" y="4875212"/>
                </a:lnTo>
                <a:lnTo>
                  <a:pt x="11758" y="4935537"/>
                </a:lnTo>
                <a:lnTo>
                  <a:pt x="23515" y="4987925"/>
                </a:lnTo>
                <a:lnTo>
                  <a:pt x="38632" y="5033962"/>
                </a:lnTo>
                <a:lnTo>
                  <a:pt x="55427" y="5075237"/>
                </a:lnTo>
                <a:lnTo>
                  <a:pt x="75583" y="5114925"/>
                </a:lnTo>
                <a:lnTo>
                  <a:pt x="95738" y="5149850"/>
                </a:lnTo>
                <a:lnTo>
                  <a:pt x="115893" y="5186362"/>
                </a:lnTo>
                <a:lnTo>
                  <a:pt x="134368" y="5226050"/>
                </a:lnTo>
                <a:lnTo>
                  <a:pt x="152844" y="5268912"/>
                </a:lnTo>
                <a:lnTo>
                  <a:pt x="167960" y="5313362"/>
                </a:lnTo>
                <a:lnTo>
                  <a:pt x="178038" y="5365750"/>
                </a:lnTo>
                <a:lnTo>
                  <a:pt x="188115" y="5426075"/>
                </a:lnTo>
                <a:lnTo>
                  <a:pt x="189795" y="5494337"/>
                </a:lnTo>
                <a:lnTo>
                  <a:pt x="188115" y="5562600"/>
                </a:lnTo>
                <a:lnTo>
                  <a:pt x="178038" y="5622925"/>
                </a:lnTo>
                <a:lnTo>
                  <a:pt x="167960" y="5675312"/>
                </a:lnTo>
                <a:lnTo>
                  <a:pt x="152844" y="5721350"/>
                </a:lnTo>
                <a:lnTo>
                  <a:pt x="134368" y="5762625"/>
                </a:lnTo>
                <a:lnTo>
                  <a:pt x="115893" y="5802312"/>
                </a:lnTo>
                <a:lnTo>
                  <a:pt x="95738" y="5840412"/>
                </a:lnTo>
                <a:lnTo>
                  <a:pt x="75583" y="5876925"/>
                </a:lnTo>
                <a:lnTo>
                  <a:pt x="55427" y="5915025"/>
                </a:lnTo>
                <a:lnTo>
                  <a:pt x="38632" y="5956300"/>
                </a:lnTo>
                <a:lnTo>
                  <a:pt x="23515" y="6003925"/>
                </a:lnTo>
                <a:lnTo>
                  <a:pt x="11758" y="6056312"/>
                </a:lnTo>
                <a:lnTo>
                  <a:pt x="3359" y="6113462"/>
                </a:lnTo>
                <a:lnTo>
                  <a:pt x="0" y="6183312"/>
                </a:lnTo>
                <a:lnTo>
                  <a:pt x="3359" y="6251575"/>
                </a:lnTo>
                <a:lnTo>
                  <a:pt x="11758" y="6311900"/>
                </a:lnTo>
                <a:lnTo>
                  <a:pt x="23515" y="6361112"/>
                </a:lnTo>
                <a:lnTo>
                  <a:pt x="38632" y="6407150"/>
                </a:lnTo>
                <a:lnTo>
                  <a:pt x="55427" y="6448425"/>
                </a:lnTo>
                <a:lnTo>
                  <a:pt x="73903" y="6488112"/>
                </a:lnTo>
                <a:lnTo>
                  <a:pt x="92379" y="6523037"/>
                </a:lnTo>
                <a:lnTo>
                  <a:pt x="112534" y="6561137"/>
                </a:lnTo>
                <a:lnTo>
                  <a:pt x="132689" y="6597650"/>
                </a:lnTo>
                <a:lnTo>
                  <a:pt x="149485" y="6640512"/>
                </a:lnTo>
                <a:lnTo>
                  <a:pt x="166281" y="6683375"/>
                </a:lnTo>
                <a:lnTo>
                  <a:pt x="176358" y="6735762"/>
                </a:lnTo>
                <a:lnTo>
                  <a:pt x="184756" y="6791325"/>
                </a:lnTo>
                <a:lnTo>
                  <a:pt x="189795" y="6858000"/>
                </a:lnTo>
                <a:lnTo>
                  <a:pt x="334173" y="6858000"/>
                </a:lnTo>
                <a:lnTo>
                  <a:pt x="334174" y="6858000"/>
                </a:lnTo>
                <a:lnTo>
                  <a:pt x="4417162" y="6858000"/>
                </a:lnTo>
                <a:close/>
              </a:path>
            </a:pathLst>
          </a:custGeom>
          <a:solidFill>
            <a:schemeClr val="accent1">
              <a:lumMod val="50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Metin kutusu 4">
            <a:extLst>
              <a:ext uri="{FF2B5EF4-FFF2-40B4-BE49-F238E27FC236}">
                <a16:creationId xmlns:a16="http://schemas.microsoft.com/office/drawing/2014/main" id="{84E98051-8EE8-4557-A22F-D7F1F9674B1E}"/>
              </a:ext>
            </a:extLst>
          </p:cNvPr>
          <p:cNvSpPr txBox="1"/>
          <p:nvPr/>
        </p:nvSpPr>
        <p:spPr>
          <a:xfrm>
            <a:off x="197745" y="1521238"/>
            <a:ext cx="402167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4000" b="1" dirty="0"/>
              <a:t>582 firma</a:t>
            </a:r>
          </a:p>
        </p:txBody>
      </p:sp>
      <p:sp>
        <p:nvSpPr>
          <p:cNvPr id="8" name="Ok: Aşağı 7">
            <a:extLst>
              <a:ext uri="{FF2B5EF4-FFF2-40B4-BE49-F238E27FC236}">
                <a16:creationId xmlns:a16="http://schemas.microsoft.com/office/drawing/2014/main" id="{98D0B7D3-9CB5-C564-6CFF-5C93AC1EFD27}"/>
              </a:ext>
            </a:extLst>
          </p:cNvPr>
          <p:cNvSpPr/>
          <p:nvPr/>
        </p:nvSpPr>
        <p:spPr>
          <a:xfrm>
            <a:off x="1792386" y="2550933"/>
            <a:ext cx="484632" cy="463397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" name="Metin kutusu 6">
            <a:extLst>
              <a:ext uri="{FF2B5EF4-FFF2-40B4-BE49-F238E27FC236}">
                <a16:creationId xmlns:a16="http://schemas.microsoft.com/office/drawing/2014/main" id="{82E356D5-4AF8-CEC4-BC37-C0891850E6A6}"/>
              </a:ext>
            </a:extLst>
          </p:cNvPr>
          <p:cNvSpPr txBox="1"/>
          <p:nvPr/>
        </p:nvSpPr>
        <p:spPr>
          <a:xfrm>
            <a:off x="-42431" y="3308684"/>
            <a:ext cx="435764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tr-TR" sz="4000" b="1" dirty="0"/>
              <a:t>Farklı uzmanlık alanlarında şirketler</a:t>
            </a:r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1689A08C-A46F-5C1A-AF37-029D16CA030F}"/>
              </a:ext>
            </a:extLst>
          </p:cNvPr>
          <p:cNvSpPr/>
          <p:nvPr/>
        </p:nvSpPr>
        <p:spPr>
          <a:xfrm>
            <a:off x="4761076" y="1005267"/>
            <a:ext cx="2608187" cy="2146044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5 AYRI NACE KODU </a:t>
            </a:r>
            <a:endParaRPr lang="en-GB" dirty="0"/>
          </a:p>
        </p:txBody>
      </p:sp>
      <p:sp>
        <p:nvSpPr>
          <p:cNvPr id="12" name="Star: 5 Points 11">
            <a:extLst>
              <a:ext uri="{FF2B5EF4-FFF2-40B4-BE49-F238E27FC236}">
                <a16:creationId xmlns:a16="http://schemas.microsoft.com/office/drawing/2014/main" id="{96628DCE-1FA0-2974-6191-E957A064A702}"/>
              </a:ext>
            </a:extLst>
          </p:cNvPr>
          <p:cNvSpPr/>
          <p:nvPr/>
        </p:nvSpPr>
        <p:spPr>
          <a:xfrm>
            <a:off x="4355335" y="3525253"/>
            <a:ext cx="3324116" cy="2146044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246 İHRACATÇI ŞİRKET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631A02E-D816-5251-B0C6-3D66964123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7961" y="3270925"/>
            <a:ext cx="3981747" cy="3338492"/>
          </a:xfrm>
          <a:prstGeom prst="rect">
            <a:avLst/>
          </a:prstGeom>
        </p:spPr>
      </p:pic>
      <p:sp>
        <p:nvSpPr>
          <p:cNvPr id="16" name="Star: 5 Points 15">
            <a:extLst>
              <a:ext uri="{FF2B5EF4-FFF2-40B4-BE49-F238E27FC236}">
                <a16:creationId xmlns:a16="http://schemas.microsoft.com/office/drawing/2014/main" id="{20A52BDE-0373-7963-6ADD-48EF94CCE786}"/>
              </a:ext>
            </a:extLst>
          </p:cNvPr>
          <p:cNvSpPr/>
          <p:nvPr/>
        </p:nvSpPr>
        <p:spPr>
          <a:xfrm>
            <a:off x="8092874" y="931119"/>
            <a:ext cx="3324116" cy="2146044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12 SEKTÖREL BAĞLANTI</a:t>
            </a:r>
            <a:endParaRPr lang="en-GB" dirty="0"/>
          </a:p>
        </p:txBody>
      </p:sp>
      <p:sp>
        <p:nvSpPr>
          <p:cNvPr id="19" name="Dikdörtgen 15">
            <a:extLst>
              <a:ext uri="{FF2B5EF4-FFF2-40B4-BE49-F238E27FC236}">
                <a16:creationId xmlns:a16="http://schemas.microsoft.com/office/drawing/2014/main" id="{F0919932-8362-4CC6-1F70-E09F613B7BE6}"/>
              </a:ext>
            </a:extLst>
          </p:cNvPr>
          <p:cNvSpPr/>
          <p:nvPr/>
        </p:nvSpPr>
        <p:spPr>
          <a:xfrm>
            <a:off x="3233651" y="41612"/>
            <a:ext cx="8347971" cy="889507"/>
          </a:xfrm>
          <a:prstGeom prst="rect">
            <a:avLst/>
          </a:prstGeom>
        </p:spPr>
        <p:style>
          <a:lnRef idx="0">
            <a:schemeClr val="dk2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sp>
        <p:nvSpPr>
          <p:cNvPr id="21" name="Dikdörtgen: Köşeleri Yuvarlatılmış 12">
            <a:extLst>
              <a:ext uri="{FF2B5EF4-FFF2-40B4-BE49-F238E27FC236}">
                <a16:creationId xmlns:a16="http://schemas.microsoft.com/office/drawing/2014/main" id="{04FF826A-E9B6-5E4B-7E06-7010AB8C2622}"/>
              </a:ext>
            </a:extLst>
          </p:cNvPr>
          <p:cNvSpPr/>
          <p:nvPr/>
        </p:nvSpPr>
        <p:spPr>
          <a:xfrm>
            <a:off x="1596094" y="0"/>
            <a:ext cx="10595906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22" name="Grup 14">
            <a:extLst>
              <a:ext uri="{FF2B5EF4-FFF2-40B4-BE49-F238E27FC236}">
                <a16:creationId xmlns:a16="http://schemas.microsoft.com/office/drawing/2014/main" id="{9E8C62A1-88D1-C5BF-4C0E-91B898AD0C45}"/>
              </a:ext>
            </a:extLst>
          </p:cNvPr>
          <p:cNvGrpSpPr/>
          <p:nvPr/>
        </p:nvGrpSpPr>
        <p:grpSpPr>
          <a:xfrm>
            <a:off x="1196698" y="41612"/>
            <a:ext cx="10690113" cy="889507"/>
            <a:chOff x="577264" y="1755"/>
            <a:chExt cx="8077705" cy="889507"/>
          </a:xfrm>
        </p:grpSpPr>
        <p:sp>
          <p:nvSpPr>
            <p:cNvPr id="23" name="Dikdörtgen 15">
              <a:extLst>
                <a:ext uri="{FF2B5EF4-FFF2-40B4-BE49-F238E27FC236}">
                  <a16:creationId xmlns:a16="http://schemas.microsoft.com/office/drawing/2014/main" id="{7E846509-77AB-06F8-B426-6326D678ACF4}"/>
                </a:ext>
              </a:extLst>
            </p:cNvPr>
            <p:cNvSpPr/>
            <p:nvPr/>
          </p:nvSpPr>
          <p:spPr>
            <a:xfrm>
              <a:off x="1027380" y="1755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Metin kutusu 16">
              <a:extLst>
                <a:ext uri="{FF2B5EF4-FFF2-40B4-BE49-F238E27FC236}">
                  <a16:creationId xmlns:a16="http://schemas.microsoft.com/office/drawing/2014/main" id="{723751FB-243D-6A75-7B75-36A83F3D3D15}"/>
                </a:ext>
              </a:extLst>
            </p:cNvPr>
            <p:cNvSpPr txBox="1"/>
            <p:nvPr/>
          </p:nvSpPr>
          <p:spPr>
            <a:xfrm>
              <a:off x="577264" y="47880"/>
              <a:ext cx="8077705" cy="700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/>
              <a:r>
                <a:rPr lang="tr-TR" sz="3600" b="1" dirty="0">
                  <a:solidFill>
                    <a:schemeClr val="tx1"/>
                  </a:solidFill>
                </a:rPr>
                <a:t>TÜRKİYE EKONOMİSİ İÇİN ÇOK ÖNEMLİ BİR GRUBU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829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: Köşeleri Yuvarlatılmış 1">
            <a:extLst>
              <a:ext uri="{FF2B5EF4-FFF2-40B4-BE49-F238E27FC236}">
                <a16:creationId xmlns:a16="http://schemas.microsoft.com/office/drawing/2014/main" id="{61526D21-0BA1-A530-DC84-FA6D102E3BD2}"/>
              </a:ext>
            </a:extLst>
          </p:cNvPr>
          <p:cNvSpPr/>
          <p:nvPr/>
        </p:nvSpPr>
        <p:spPr>
          <a:xfrm>
            <a:off x="770021" y="3092116"/>
            <a:ext cx="10483517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id="{5802E721-461C-6D31-FA4E-034A4B0A7CE5}"/>
              </a:ext>
            </a:extLst>
          </p:cNvPr>
          <p:cNvGrpSpPr/>
          <p:nvPr/>
        </p:nvGrpSpPr>
        <p:grpSpPr>
          <a:xfrm>
            <a:off x="1091866" y="3043989"/>
            <a:ext cx="10008268" cy="889507"/>
            <a:chOff x="-3142367" y="3337406"/>
            <a:chExt cx="11528318" cy="889507"/>
          </a:xfrm>
        </p:grpSpPr>
        <p:sp>
          <p:nvSpPr>
            <p:cNvPr id="11" name="Dikdörtgen 10">
              <a:extLst>
                <a:ext uri="{FF2B5EF4-FFF2-40B4-BE49-F238E27FC236}">
                  <a16:creationId xmlns:a16="http://schemas.microsoft.com/office/drawing/2014/main" id="{C83EA8D5-785C-DAF7-7C36-C3812003DF99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Metin kutusu 11">
              <a:extLst>
                <a:ext uri="{FF2B5EF4-FFF2-40B4-BE49-F238E27FC236}">
                  <a16:creationId xmlns:a16="http://schemas.microsoft.com/office/drawing/2014/main" id="{CEE11B0B-B01B-E0D2-47B9-55743E2E8361}"/>
                </a:ext>
              </a:extLst>
            </p:cNvPr>
            <p:cNvSpPr txBox="1"/>
            <p:nvPr/>
          </p:nvSpPr>
          <p:spPr>
            <a:xfrm>
              <a:off x="-3142367" y="3337406"/>
              <a:ext cx="10526402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KOMİTEMİZ İÇİN YÜRÜTTÜĞÜMÜZ FAALİYETL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6245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: Köşeleri Yuvarlatılmış 1">
            <a:extLst>
              <a:ext uri="{FF2B5EF4-FFF2-40B4-BE49-F238E27FC236}">
                <a16:creationId xmlns:a16="http://schemas.microsoft.com/office/drawing/2014/main" id="{61526D21-0BA1-A530-DC84-FA6D102E3BD2}"/>
              </a:ext>
            </a:extLst>
          </p:cNvPr>
          <p:cNvSpPr/>
          <p:nvPr/>
        </p:nvSpPr>
        <p:spPr>
          <a:xfrm>
            <a:off x="3806049" y="0"/>
            <a:ext cx="8385952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id="{5802E721-461C-6D31-FA4E-034A4B0A7CE5}"/>
              </a:ext>
            </a:extLst>
          </p:cNvPr>
          <p:cNvGrpSpPr/>
          <p:nvPr/>
        </p:nvGrpSpPr>
        <p:grpSpPr>
          <a:xfrm>
            <a:off x="3993667" y="0"/>
            <a:ext cx="8198333" cy="889507"/>
            <a:chOff x="187618" y="3337406"/>
            <a:chExt cx="8198333" cy="889507"/>
          </a:xfrm>
        </p:grpSpPr>
        <p:sp>
          <p:nvSpPr>
            <p:cNvPr id="11" name="Dikdörtgen 10">
              <a:extLst>
                <a:ext uri="{FF2B5EF4-FFF2-40B4-BE49-F238E27FC236}">
                  <a16:creationId xmlns:a16="http://schemas.microsoft.com/office/drawing/2014/main" id="{C83EA8D5-785C-DAF7-7C36-C3812003DF99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Metin kutusu 11">
              <a:extLst>
                <a:ext uri="{FF2B5EF4-FFF2-40B4-BE49-F238E27FC236}">
                  <a16:creationId xmlns:a16="http://schemas.microsoft.com/office/drawing/2014/main" id="{CEE11B0B-B01B-E0D2-47B9-55743E2E8361}"/>
                </a:ext>
              </a:extLst>
            </p:cNvPr>
            <p:cNvSpPr txBox="1"/>
            <p:nvPr/>
          </p:nvSpPr>
          <p:spPr>
            <a:xfrm>
              <a:off x="187618" y="333740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Mesleki Eğitim İşbirliği Projesi</a:t>
              </a:r>
            </a:p>
          </p:txBody>
        </p:sp>
      </p:grpSp>
      <p:sp>
        <p:nvSpPr>
          <p:cNvPr id="19" name="Dikdörtgen 18" descr="Eğitim">
            <a:extLst>
              <a:ext uri="{FF2B5EF4-FFF2-40B4-BE49-F238E27FC236}">
                <a16:creationId xmlns:a16="http://schemas.microsoft.com/office/drawing/2014/main" id="{9B3E0D8D-6D85-D502-5FCE-9C9226BCDB89}"/>
              </a:ext>
            </a:extLst>
          </p:cNvPr>
          <p:cNvSpPr/>
          <p:nvPr/>
        </p:nvSpPr>
        <p:spPr>
          <a:xfrm>
            <a:off x="11540618" y="185271"/>
            <a:ext cx="489228" cy="489228"/>
          </a:xfrm>
          <a:prstGeom prst="rect">
            <a:avLst/>
          </a:prstGeom>
          <a:blipFill rotWithShape="1">
            <a:blip r:embed="rId2"/>
            <a:srcRect/>
            <a:stretch>
              <a:fillRect l="-2000" r="-2000"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pic>
        <p:nvPicPr>
          <p:cNvPr id="66" name="Resim 65">
            <a:extLst>
              <a:ext uri="{FF2B5EF4-FFF2-40B4-BE49-F238E27FC236}">
                <a16:creationId xmlns:a16="http://schemas.microsoft.com/office/drawing/2014/main" id="{C1463C8C-5A5C-1B50-1073-7FDFB37D013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rcRect l="3253" r="3253"/>
          <a:stretch/>
        </p:blipFill>
        <p:spPr>
          <a:xfrm>
            <a:off x="1008826" y="798825"/>
            <a:ext cx="9797580" cy="564739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8" name="Oval 67">
            <a:extLst>
              <a:ext uri="{FF2B5EF4-FFF2-40B4-BE49-F238E27FC236}">
                <a16:creationId xmlns:a16="http://schemas.microsoft.com/office/drawing/2014/main" id="{05050450-7DBF-CDD2-A651-3660B2EA2D5E}"/>
              </a:ext>
            </a:extLst>
          </p:cNvPr>
          <p:cNvSpPr/>
          <p:nvPr/>
        </p:nvSpPr>
        <p:spPr>
          <a:xfrm>
            <a:off x="1977775" y="4206147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06E5EB4B-5511-77A0-626C-7496F5E44E6F}"/>
              </a:ext>
            </a:extLst>
          </p:cNvPr>
          <p:cNvSpPr/>
          <p:nvPr/>
        </p:nvSpPr>
        <p:spPr>
          <a:xfrm>
            <a:off x="7972327" y="5596446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71" name="Dikdörtgen 70">
            <a:extLst>
              <a:ext uri="{FF2B5EF4-FFF2-40B4-BE49-F238E27FC236}">
                <a16:creationId xmlns:a16="http://schemas.microsoft.com/office/drawing/2014/main" id="{039A144D-233B-651F-8229-FAC29A03E008}"/>
              </a:ext>
            </a:extLst>
          </p:cNvPr>
          <p:cNvSpPr/>
          <p:nvPr/>
        </p:nvSpPr>
        <p:spPr>
          <a:xfrm rot="16200000" flipV="1">
            <a:off x="4735033" y="4643964"/>
            <a:ext cx="113750" cy="287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endParaRPr lang="fi-FI" b="0" i="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ogle San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0B323625-23D1-8829-AE84-43B969C665B9}"/>
              </a:ext>
            </a:extLst>
          </p:cNvPr>
          <p:cNvSpPr/>
          <p:nvPr/>
        </p:nvSpPr>
        <p:spPr>
          <a:xfrm>
            <a:off x="5604436" y="4310699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F5CA68D1-D5F8-739B-9847-9BA789764A32}"/>
              </a:ext>
            </a:extLst>
          </p:cNvPr>
          <p:cNvSpPr/>
          <p:nvPr/>
        </p:nvSpPr>
        <p:spPr>
          <a:xfrm>
            <a:off x="5652297" y="4824135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D9E449BA-71C9-DDC8-8439-FA30B09E49E8}"/>
              </a:ext>
            </a:extLst>
          </p:cNvPr>
          <p:cNvSpPr/>
          <p:nvPr/>
        </p:nvSpPr>
        <p:spPr>
          <a:xfrm>
            <a:off x="4171943" y="3962715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AC19628E-27AB-1A75-BE6D-FFB880E8596F}"/>
              </a:ext>
            </a:extLst>
          </p:cNvPr>
          <p:cNvSpPr/>
          <p:nvPr/>
        </p:nvSpPr>
        <p:spPr>
          <a:xfrm>
            <a:off x="3570850" y="4768271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382C6CC6-A959-163D-6300-967F5B118E10}"/>
              </a:ext>
            </a:extLst>
          </p:cNvPr>
          <p:cNvSpPr/>
          <p:nvPr/>
        </p:nvSpPr>
        <p:spPr>
          <a:xfrm>
            <a:off x="7093822" y="5106845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CEA394BE-262B-4499-F23F-3E4303D1FCD6}"/>
              </a:ext>
            </a:extLst>
          </p:cNvPr>
          <p:cNvSpPr/>
          <p:nvPr/>
        </p:nvSpPr>
        <p:spPr>
          <a:xfrm>
            <a:off x="4712848" y="4206147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EEE9026-A28E-15DF-AB4C-60B85C18C057}"/>
              </a:ext>
            </a:extLst>
          </p:cNvPr>
          <p:cNvSpPr/>
          <p:nvPr/>
        </p:nvSpPr>
        <p:spPr>
          <a:xfrm>
            <a:off x="3887089" y="3931602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CC41596C-4252-D5D9-E84C-1506B3C01788}"/>
              </a:ext>
            </a:extLst>
          </p:cNvPr>
          <p:cNvSpPr/>
          <p:nvPr/>
        </p:nvSpPr>
        <p:spPr>
          <a:xfrm>
            <a:off x="4966686" y="4293968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656E01C5-B8D7-1AAD-3E13-4891DE515962}"/>
              </a:ext>
            </a:extLst>
          </p:cNvPr>
          <p:cNvSpPr/>
          <p:nvPr/>
        </p:nvSpPr>
        <p:spPr>
          <a:xfrm>
            <a:off x="4382977" y="4288888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8F40B7F1-A6E4-D896-724D-F7998784AE8E}"/>
              </a:ext>
            </a:extLst>
          </p:cNvPr>
          <p:cNvSpPr/>
          <p:nvPr/>
        </p:nvSpPr>
        <p:spPr>
          <a:xfrm>
            <a:off x="5819795" y="4648493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21C0E02B-C5F9-050B-883A-AEB364F51FBD}"/>
              </a:ext>
            </a:extLst>
          </p:cNvPr>
          <p:cNvSpPr/>
          <p:nvPr/>
        </p:nvSpPr>
        <p:spPr>
          <a:xfrm>
            <a:off x="5106346" y="5056601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7F2E10DD-2180-25BF-EF5F-5B4C2F2599B0}"/>
              </a:ext>
            </a:extLst>
          </p:cNvPr>
          <p:cNvSpPr/>
          <p:nvPr/>
        </p:nvSpPr>
        <p:spPr>
          <a:xfrm>
            <a:off x="4888490" y="4736314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55FB5605-8A2C-89C7-DCFB-8B233993BC92}"/>
              </a:ext>
            </a:extLst>
          </p:cNvPr>
          <p:cNvSpPr/>
          <p:nvPr/>
        </p:nvSpPr>
        <p:spPr>
          <a:xfrm>
            <a:off x="5174956" y="4597097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5403A3CF-B788-984B-1F72-EE8E9D53CE63}"/>
              </a:ext>
            </a:extLst>
          </p:cNvPr>
          <p:cNvSpPr/>
          <p:nvPr/>
        </p:nvSpPr>
        <p:spPr>
          <a:xfrm>
            <a:off x="7647277" y="5439566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D7815522-D515-42F3-3C4F-5C9295D0891A}"/>
              </a:ext>
            </a:extLst>
          </p:cNvPr>
          <p:cNvSpPr/>
          <p:nvPr/>
        </p:nvSpPr>
        <p:spPr>
          <a:xfrm>
            <a:off x="6629264" y="4736314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CF7BD79-153D-A89C-43BF-8785CD0A211C}"/>
              </a:ext>
            </a:extLst>
          </p:cNvPr>
          <p:cNvSpPr/>
          <p:nvPr/>
        </p:nvSpPr>
        <p:spPr>
          <a:xfrm>
            <a:off x="7072274" y="4744155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7F8E0061-3673-729B-B67F-B6A8AF949205}"/>
              </a:ext>
            </a:extLst>
          </p:cNvPr>
          <p:cNvSpPr/>
          <p:nvPr/>
        </p:nvSpPr>
        <p:spPr>
          <a:xfrm>
            <a:off x="6442335" y="4919797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6DE8A94D-199C-7811-847C-E3BA79206214}"/>
              </a:ext>
            </a:extLst>
          </p:cNvPr>
          <p:cNvSpPr/>
          <p:nvPr/>
        </p:nvSpPr>
        <p:spPr>
          <a:xfrm>
            <a:off x="3073697" y="4087549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823C2896-F694-2FFE-08EF-9C740A817981}"/>
              </a:ext>
            </a:extLst>
          </p:cNvPr>
          <p:cNvSpPr/>
          <p:nvPr/>
        </p:nvSpPr>
        <p:spPr>
          <a:xfrm>
            <a:off x="3429615" y="3921519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54CF8F1A-C097-E23D-C644-B05F3C885F5B}"/>
              </a:ext>
            </a:extLst>
          </p:cNvPr>
          <p:cNvSpPr/>
          <p:nvPr/>
        </p:nvSpPr>
        <p:spPr>
          <a:xfrm>
            <a:off x="3161518" y="4486341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FD03470E-DF71-FAEC-68FD-C191BBDD45ED}"/>
              </a:ext>
            </a:extLst>
          </p:cNvPr>
          <p:cNvSpPr/>
          <p:nvPr/>
        </p:nvSpPr>
        <p:spPr>
          <a:xfrm>
            <a:off x="3558640" y="4495356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CFC64211-3197-1D9D-62FB-ECE033EDB260}"/>
              </a:ext>
            </a:extLst>
          </p:cNvPr>
          <p:cNvSpPr/>
          <p:nvPr/>
        </p:nvSpPr>
        <p:spPr>
          <a:xfrm>
            <a:off x="3993667" y="4293968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14F2B27-6BD3-2AB4-A4A9-A9327EE6E92D}"/>
              </a:ext>
            </a:extLst>
          </p:cNvPr>
          <p:cNvSpPr/>
          <p:nvPr/>
        </p:nvSpPr>
        <p:spPr>
          <a:xfrm>
            <a:off x="4081488" y="4656334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3D10E242-B634-5DF5-AD7D-73EB1103D3EF}"/>
              </a:ext>
            </a:extLst>
          </p:cNvPr>
          <p:cNvSpPr/>
          <p:nvPr/>
        </p:nvSpPr>
        <p:spPr>
          <a:xfrm>
            <a:off x="4252703" y="4950451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6CBD87F9-F553-E926-6C5E-9176200DC54C}"/>
              </a:ext>
            </a:extLst>
          </p:cNvPr>
          <p:cNvSpPr/>
          <p:nvPr/>
        </p:nvSpPr>
        <p:spPr>
          <a:xfrm>
            <a:off x="4512710" y="4736314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F60654FD-FD5C-FE21-1679-3E7484999444}"/>
              </a:ext>
            </a:extLst>
          </p:cNvPr>
          <p:cNvSpPr/>
          <p:nvPr/>
        </p:nvSpPr>
        <p:spPr>
          <a:xfrm>
            <a:off x="5246214" y="4831976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2924651B-ADDC-0558-2612-E60E2B5565B1}"/>
              </a:ext>
            </a:extLst>
          </p:cNvPr>
          <p:cNvSpPr/>
          <p:nvPr/>
        </p:nvSpPr>
        <p:spPr>
          <a:xfrm>
            <a:off x="5483097" y="4501582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FC39C181-5585-19D8-8AE8-4C6CFC9ECA24}"/>
              </a:ext>
            </a:extLst>
          </p:cNvPr>
          <p:cNvSpPr/>
          <p:nvPr/>
        </p:nvSpPr>
        <p:spPr>
          <a:xfrm>
            <a:off x="6833885" y="5321613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0BE2D776-AA9B-D3BA-06C8-1AFF418144E7}"/>
              </a:ext>
            </a:extLst>
          </p:cNvPr>
          <p:cNvSpPr/>
          <p:nvPr/>
        </p:nvSpPr>
        <p:spPr>
          <a:xfrm>
            <a:off x="6769218" y="4942610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F12A66A4-5025-8994-8030-4920AD846D98}"/>
              </a:ext>
            </a:extLst>
          </p:cNvPr>
          <p:cNvSpPr/>
          <p:nvPr/>
        </p:nvSpPr>
        <p:spPr>
          <a:xfrm>
            <a:off x="7069657" y="5508625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7E68F64-6E9F-ED04-D141-B6A28F98DACA}"/>
              </a:ext>
            </a:extLst>
          </p:cNvPr>
          <p:cNvSpPr/>
          <p:nvPr/>
        </p:nvSpPr>
        <p:spPr>
          <a:xfrm>
            <a:off x="7412916" y="5596446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4D22C9A2-032C-A2A5-AA59-FBBD07D6B03E}"/>
              </a:ext>
            </a:extLst>
          </p:cNvPr>
          <p:cNvSpPr/>
          <p:nvPr/>
        </p:nvSpPr>
        <p:spPr>
          <a:xfrm>
            <a:off x="7345005" y="5023236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94D972FE-E6D6-D737-2DD2-A710E25687CE}"/>
              </a:ext>
            </a:extLst>
          </p:cNvPr>
          <p:cNvSpPr/>
          <p:nvPr/>
        </p:nvSpPr>
        <p:spPr>
          <a:xfrm>
            <a:off x="7559456" y="5771737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BE3AECFA-07C0-133B-6455-03091DBCACD1}"/>
              </a:ext>
            </a:extLst>
          </p:cNvPr>
          <p:cNvSpPr/>
          <p:nvPr/>
        </p:nvSpPr>
        <p:spPr>
          <a:xfrm>
            <a:off x="5181658" y="4263191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B59332DD-A314-A50E-2F99-B93EE8A14F80}"/>
              </a:ext>
            </a:extLst>
          </p:cNvPr>
          <p:cNvSpPr/>
          <p:nvPr/>
        </p:nvSpPr>
        <p:spPr>
          <a:xfrm>
            <a:off x="4897514" y="3984974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7FC089B0-19A6-2623-FB37-85526E731A9C}"/>
              </a:ext>
            </a:extLst>
          </p:cNvPr>
          <p:cNvSpPr/>
          <p:nvPr/>
        </p:nvSpPr>
        <p:spPr>
          <a:xfrm>
            <a:off x="6461663" y="4474726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0C445264-12F4-023B-6897-7BCA7440A740}"/>
              </a:ext>
            </a:extLst>
          </p:cNvPr>
          <p:cNvSpPr/>
          <p:nvPr/>
        </p:nvSpPr>
        <p:spPr>
          <a:xfrm>
            <a:off x="7559456" y="5176279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9CBF4AC5-85BA-2C30-4883-CD8A4A14FD3B}"/>
              </a:ext>
            </a:extLst>
          </p:cNvPr>
          <p:cNvSpPr/>
          <p:nvPr/>
        </p:nvSpPr>
        <p:spPr>
          <a:xfrm>
            <a:off x="5079914" y="4094485"/>
            <a:ext cx="175642" cy="17564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26" name="Metin kutusu 125">
            <a:extLst>
              <a:ext uri="{FF2B5EF4-FFF2-40B4-BE49-F238E27FC236}">
                <a16:creationId xmlns:a16="http://schemas.microsoft.com/office/drawing/2014/main" id="{990A6172-9753-5D96-9132-4AE24BF7F189}"/>
              </a:ext>
            </a:extLst>
          </p:cNvPr>
          <p:cNvSpPr txBox="1"/>
          <p:nvPr/>
        </p:nvSpPr>
        <p:spPr>
          <a:xfrm>
            <a:off x="677810" y="5409434"/>
            <a:ext cx="45777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sz="1800" b="1" dirty="0">
                <a:solidFill>
                  <a:srgbClr val="C00000"/>
                </a:solidFill>
              </a:rPr>
              <a:t>Alibeyköy MTAL </a:t>
            </a:r>
          </a:p>
          <a:p>
            <a:r>
              <a:rPr lang="tr-TR" b="1" dirty="0">
                <a:solidFill>
                  <a:srgbClr val="C00000"/>
                </a:solidFill>
              </a:rPr>
              <a:t>Nahit Menteşe MTAL </a:t>
            </a:r>
            <a:endParaRPr lang="tr-TR" sz="1800" b="1" dirty="0">
              <a:solidFill>
                <a:srgbClr val="C00000"/>
              </a:solidFill>
            </a:endParaRPr>
          </a:p>
          <a:p>
            <a:r>
              <a:rPr lang="tr-TR" sz="1800" b="1" dirty="0">
                <a:solidFill>
                  <a:srgbClr val="C00000"/>
                </a:solidFill>
              </a:rPr>
              <a:t>ALİ EREN</a:t>
            </a:r>
            <a:endParaRPr lang="tr-TR" dirty="0"/>
          </a:p>
        </p:txBody>
      </p:sp>
      <p:sp>
        <p:nvSpPr>
          <p:cNvPr id="127" name="Metin kutusu 126">
            <a:extLst>
              <a:ext uri="{FF2B5EF4-FFF2-40B4-BE49-F238E27FC236}">
                <a16:creationId xmlns:a16="http://schemas.microsoft.com/office/drawing/2014/main" id="{1153AF1A-10A6-944C-C9AC-B14CE2F101F9}"/>
              </a:ext>
            </a:extLst>
          </p:cNvPr>
          <p:cNvSpPr txBox="1"/>
          <p:nvPr/>
        </p:nvSpPr>
        <p:spPr>
          <a:xfrm>
            <a:off x="6549484" y="1287075"/>
            <a:ext cx="5059305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tr-TR" sz="2000" b="1" dirty="0">
                <a:solidFill>
                  <a:srgbClr val="C00000"/>
                </a:solidFill>
              </a:rPr>
              <a:t>AMAÇ </a:t>
            </a:r>
          </a:p>
          <a:p>
            <a:pPr algn="r"/>
            <a:r>
              <a:rPr lang="tr-TR" sz="1800" b="0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* Okullara nitelikli öğrencileri çekmek</a:t>
            </a:r>
          </a:p>
          <a:p>
            <a:pPr algn="r"/>
            <a:r>
              <a:rPr lang="tr-TR" sz="1800" b="0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* Öğrencileri </a:t>
            </a:r>
            <a:r>
              <a:rPr lang="tr-TR" sz="1800" b="1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okulda</a:t>
            </a:r>
            <a:r>
              <a:rPr lang="tr-TR" sz="1800" b="0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 ve </a:t>
            </a:r>
            <a:r>
              <a:rPr lang="tr-TR" sz="1800" b="1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şyerinde</a:t>
            </a:r>
            <a:r>
              <a:rPr lang="tr-TR" sz="1800" b="0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tr-TR" sz="1800" b="1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stihdam</a:t>
            </a:r>
            <a:r>
              <a:rPr lang="tr-TR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tr-TR" sz="1800" b="1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odaklı </a:t>
            </a:r>
            <a:r>
              <a:rPr lang="tr-TR" sz="1800" b="0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olarak yetiştirmek</a:t>
            </a:r>
          </a:p>
          <a:p>
            <a:pPr algn="r"/>
            <a:r>
              <a:rPr lang="tr-TR" b="0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* Mezunların </a:t>
            </a:r>
            <a:r>
              <a:rPr lang="tr-TR" b="1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alanlarında sürdürülebilir şekilde nitelikli istihdamının </a:t>
            </a:r>
            <a:r>
              <a:rPr lang="tr-TR" b="0" kern="1200" dirty="0">
                <a:solidFill>
                  <a:schemeClr val="accent5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sağlanmasına katkıda bulunmak</a:t>
            </a:r>
          </a:p>
        </p:txBody>
      </p:sp>
      <p:sp>
        <p:nvSpPr>
          <p:cNvPr id="3" name="Metin kutusu 125">
            <a:extLst>
              <a:ext uri="{FF2B5EF4-FFF2-40B4-BE49-F238E27FC236}">
                <a16:creationId xmlns:a16="http://schemas.microsoft.com/office/drawing/2014/main" id="{929572F2-BBE4-4A85-49DB-A72C98DD163A}"/>
              </a:ext>
            </a:extLst>
          </p:cNvPr>
          <p:cNvSpPr txBox="1"/>
          <p:nvPr/>
        </p:nvSpPr>
        <p:spPr>
          <a:xfrm>
            <a:off x="3250410" y="5368415"/>
            <a:ext cx="45777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b="1" dirty="0">
                <a:solidFill>
                  <a:srgbClr val="C00000"/>
                </a:solidFill>
              </a:rPr>
              <a:t>Avcılar MTAL</a:t>
            </a:r>
            <a:endParaRPr lang="tr-TR" sz="1800" b="1" dirty="0">
              <a:solidFill>
                <a:srgbClr val="C00000"/>
              </a:solidFill>
            </a:endParaRPr>
          </a:p>
          <a:p>
            <a:r>
              <a:rPr lang="tr-TR" sz="1800" b="1" dirty="0">
                <a:solidFill>
                  <a:srgbClr val="C00000"/>
                </a:solidFill>
              </a:rPr>
              <a:t>CEMİL TAYMAN</a:t>
            </a:r>
            <a:endParaRPr lang="tr-TR" dirty="0"/>
          </a:p>
        </p:txBody>
      </p:sp>
      <p:sp>
        <p:nvSpPr>
          <p:cNvPr id="4" name="Metin kutusu 125">
            <a:extLst>
              <a:ext uri="{FF2B5EF4-FFF2-40B4-BE49-F238E27FC236}">
                <a16:creationId xmlns:a16="http://schemas.microsoft.com/office/drawing/2014/main" id="{BBE083F2-E4C9-CE8A-5EE4-36ABAF670ECF}"/>
              </a:ext>
            </a:extLst>
          </p:cNvPr>
          <p:cNvSpPr txBox="1"/>
          <p:nvPr/>
        </p:nvSpPr>
        <p:spPr>
          <a:xfrm>
            <a:off x="8894301" y="5322540"/>
            <a:ext cx="291188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b="1" dirty="0">
                <a:solidFill>
                  <a:srgbClr val="C00000"/>
                </a:solidFill>
              </a:rPr>
              <a:t>Alibeyköy MTAL</a:t>
            </a:r>
            <a:endParaRPr lang="tr-TR" sz="1800" b="1" dirty="0">
              <a:solidFill>
                <a:srgbClr val="C00000"/>
              </a:solidFill>
            </a:endParaRPr>
          </a:p>
          <a:p>
            <a:r>
              <a:rPr lang="tr-TR" sz="1800" b="1" dirty="0">
                <a:solidFill>
                  <a:srgbClr val="C00000"/>
                </a:solidFill>
              </a:rPr>
              <a:t>SÜLEYMAN SEDAT YAPAR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720684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230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9" y="0"/>
            <a:ext cx="8385952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3993667" y="0"/>
            <a:ext cx="8198333" cy="889507"/>
            <a:chOff x="187618" y="3337406"/>
            <a:chExt cx="8198333" cy="88950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187618" y="333740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ISO MEIP Alibeyköy </a:t>
              </a:r>
              <a:r>
                <a:rPr lang="tr-TR" sz="3600" b="1" dirty="0" err="1">
                  <a:latin typeface="+mj-lt"/>
                  <a:cs typeface="Times New Roman" panose="02020603050405020304" pitchFamily="18" charset="0"/>
                </a:rPr>
                <a:t>End</a:t>
              </a: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. Meslek Lisesi Yaparlar AŞ Ziyareti ve İşbirliği</a:t>
              </a:r>
            </a:p>
          </p:txBody>
        </p:sp>
      </p:grpSp>
      <p:pic>
        <p:nvPicPr>
          <p:cNvPr id="12" name="Picture 11" descr="A group of people in safety vests and helmets posing for a photo&#10;&#10;Description automatically generated">
            <a:extLst>
              <a:ext uri="{FF2B5EF4-FFF2-40B4-BE49-F238E27FC236}">
                <a16:creationId xmlns:a16="http://schemas.microsoft.com/office/drawing/2014/main" id="{6C4252D8-409F-8BD4-705D-1F12F4DC4A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754" y="2573643"/>
            <a:ext cx="5143246" cy="385743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60685E6-01E3-6E4F-3A53-1A23843BC9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59671" y="683119"/>
            <a:ext cx="1601040" cy="1783149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EC34BCFB-6514-FD34-7883-FD6926DA6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709" y="3624293"/>
            <a:ext cx="5736573" cy="2348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185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FDB3D7F-9621-83F2-7592-2D2080DBE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DB3D7F-9621-83F2-7592-2D2080DBE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: Köşeleri Yuvarlatılmış 1">
            <a:extLst>
              <a:ext uri="{FF2B5EF4-FFF2-40B4-BE49-F238E27FC236}">
                <a16:creationId xmlns:a16="http://schemas.microsoft.com/office/drawing/2014/main" id="{720BCCAC-5A63-CBA1-CD81-1121D989071C}"/>
              </a:ext>
            </a:extLst>
          </p:cNvPr>
          <p:cNvSpPr/>
          <p:nvPr/>
        </p:nvSpPr>
        <p:spPr>
          <a:xfrm>
            <a:off x="3806049" y="0"/>
            <a:ext cx="8385952" cy="889507"/>
          </a:xfrm>
          <a:prstGeom prst="roundRect">
            <a:avLst>
              <a:gd name="adj" fmla="val 1000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/>
          </a:p>
        </p:txBody>
      </p:sp>
      <p:grpSp>
        <p:nvGrpSpPr>
          <p:cNvPr id="5" name="Grup 5">
            <a:extLst>
              <a:ext uri="{FF2B5EF4-FFF2-40B4-BE49-F238E27FC236}">
                <a16:creationId xmlns:a16="http://schemas.microsoft.com/office/drawing/2014/main" id="{EDC79059-32E5-410A-6E72-68D98953E33B}"/>
              </a:ext>
            </a:extLst>
          </p:cNvPr>
          <p:cNvGrpSpPr/>
          <p:nvPr/>
        </p:nvGrpSpPr>
        <p:grpSpPr>
          <a:xfrm>
            <a:off x="3993667" y="0"/>
            <a:ext cx="8198333" cy="889507"/>
            <a:chOff x="187618" y="3337406"/>
            <a:chExt cx="8198333" cy="889507"/>
          </a:xfrm>
        </p:grpSpPr>
        <p:sp>
          <p:nvSpPr>
            <p:cNvPr id="6" name="Dikdörtgen 10">
              <a:extLst>
                <a:ext uri="{FF2B5EF4-FFF2-40B4-BE49-F238E27FC236}">
                  <a16:creationId xmlns:a16="http://schemas.microsoft.com/office/drawing/2014/main" id="{51AB624E-A4D4-B0FF-AA28-8A50839D1A98}"/>
                </a:ext>
              </a:extLst>
            </p:cNvPr>
            <p:cNvSpPr/>
            <p:nvPr/>
          </p:nvSpPr>
          <p:spPr>
            <a:xfrm>
              <a:off x="1027380" y="3337406"/>
              <a:ext cx="7358571" cy="889507"/>
            </a:xfrm>
            <a:prstGeom prst="rect">
              <a:avLst/>
            </a:prstGeom>
          </p:spPr>
          <p:style>
            <a:lnRef idx="0">
              <a:schemeClr val="dk2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Metin kutusu 11">
              <a:extLst>
                <a:ext uri="{FF2B5EF4-FFF2-40B4-BE49-F238E27FC236}">
                  <a16:creationId xmlns:a16="http://schemas.microsoft.com/office/drawing/2014/main" id="{FC108E23-1A54-9A9F-E175-3F01453C63A0}"/>
                </a:ext>
              </a:extLst>
            </p:cNvPr>
            <p:cNvSpPr txBox="1"/>
            <p:nvPr/>
          </p:nvSpPr>
          <p:spPr>
            <a:xfrm>
              <a:off x="187618" y="3337406"/>
              <a:ext cx="7196417" cy="889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4140" tIns="94140" rIns="94140" bIns="94140" numCol="1" spcCol="1270" anchor="ctr" anchorCtr="0">
              <a:noAutofit/>
            </a:bodyPr>
            <a:lstStyle/>
            <a:p>
              <a:pPr algn="r" defTabSz="977900">
                <a:spcBef>
                  <a:spcPct val="0"/>
                </a:spcBef>
                <a:spcAft>
                  <a:spcPct val="35000"/>
                </a:spcAft>
              </a:pPr>
              <a:r>
                <a:rPr lang="tr-TR" sz="3600" b="1" dirty="0">
                  <a:latin typeface="+mj-lt"/>
                  <a:cs typeface="Times New Roman" panose="02020603050405020304" pitchFamily="18" charset="0"/>
                </a:rPr>
                <a:t>ISO MEIP AVCILAR MTAL CETA FORM A.Ş üretim tesislerini ziyaret ettiler</a:t>
              </a:r>
            </a:p>
          </p:txBody>
        </p:sp>
      </p:grpSp>
      <p:pic>
        <p:nvPicPr>
          <p:cNvPr id="10" name="Picture 9" descr="A group of people in green vests&#10;&#10;Description automatically generated">
            <a:extLst>
              <a:ext uri="{FF2B5EF4-FFF2-40B4-BE49-F238E27FC236}">
                <a16:creationId xmlns:a16="http://schemas.microsoft.com/office/drawing/2014/main" id="{5178A9C5-D0A5-9A4B-24F1-5299280222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957" y="1443144"/>
            <a:ext cx="5663514" cy="2548581"/>
          </a:xfrm>
          <a:prstGeom prst="rect">
            <a:avLst/>
          </a:prstGeom>
        </p:spPr>
      </p:pic>
      <p:pic>
        <p:nvPicPr>
          <p:cNvPr id="13" name="Picture 12" descr="A group of people in a room&#10;&#10;Description automatically generated">
            <a:extLst>
              <a:ext uri="{FF2B5EF4-FFF2-40B4-BE49-F238E27FC236}">
                <a16:creationId xmlns:a16="http://schemas.microsoft.com/office/drawing/2014/main" id="{F69C739E-8AD4-D5F9-2515-D3FF415BC9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957" y="4119731"/>
            <a:ext cx="5185955" cy="2333680"/>
          </a:xfrm>
          <a:prstGeom prst="rect">
            <a:avLst/>
          </a:prstGeom>
        </p:spPr>
      </p:pic>
      <p:pic>
        <p:nvPicPr>
          <p:cNvPr id="16" name="Picture 15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01DCABC8-321C-C59F-0F5E-422A94C80E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26" y="2717434"/>
            <a:ext cx="4981303" cy="373597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C02BF42-574C-862E-ABA8-440A31FC8E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98198" y="1041116"/>
            <a:ext cx="1226705" cy="1550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366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95</TotalTime>
  <Words>373</Words>
  <Application>Microsoft Office PowerPoint</Application>
  <PresentationFormat>Widescreen</PresentationFormat>
  <Paragraphs>71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libri</vt:lpstr>
      <vt:lpstr>Calibri Light</vt:lpstr>
      <vt:lpstr>Google Sans</vt:lpstr>
      <vt:lpstr>Trebuchet MS</vt:lpstr>
      <vt:lpstr>Wingdings</vt:lpstr>
      <vt:lpstr>Office Teması</vt:lpstr>
      <vt:lpstr>think-cell Slide</vt:lpstr>
      <vt:lpstr>Packager Shell Obje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ezer HOŞGÖR</dc:creator>
  <cp:lastModifiedBy>Eren, Hasan Melih</cp:lastModifiedBy>
  <cp:revision>75</cp:revision>
  <dcterms:created xsi:type="dcterms:W3CDTF">2022-11-09T09:02:43Z</dcterms:created>
  <dcterms:modified xsi:type="dcterms:W3CDTF">2024-05-29T14:39:50Z</dcterms:modified>
</cp:coreProperties>
</file>